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 id="2147483686" r:id="rId5"/>
    <p:sldMasterId id="2147483715" r:id="rId6"/>
    <p:sldMasterId id="2147483724" r:id="rId7"/>
  </p:sldMasterIdLst>
  <p:notesMasterIdLst>
    <p:notesMasterId r:id="rId19"/>
  </p:notesMasterIdLst>
  <p:sldIdLst>
    <p:sldId id="1552" r:id="rId8"/>
    <p:sldId id="4610" r:id="rId9"/>
    <p:sldId id="4611" r:id="rId10"/>
    <p:sldId id="4612" r:id="rId11"/>
    <p:sldId id="4616" r:id="rId12"/>
    <p:sldId id="4617" r:id="rId13"/>
    <p:sldId id="4618" r:id="rId14"/>
    <p:sldId id="4621" r:id="rId15"/>
    <p:sldId id="4619" r:id="rId16"/>
    <p:sldId id="4620" r:id="rId17"/>
    <p:sldId id="4615" r:id="rId18"/>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56" userDrawn="1">
          <p15:clr>
            <a:srgbClr val="A4A3A4"/>
          </p15:clr>
        </p15:guide>
        <p15:guide id="2" orient="horz" pos="264" userDrawn="1">
          <p15:clr>
            <a:srgbClr val="A4A3A4"/>
          </p15:clr>
        </p15:guide>
        <p15:guide id="3" orient="horz" pos="4102">
          <p15:clr>
            <a:srgbClr val="A4A3A4"/>
          </p15:clr>
        </p15:guide>
        <p15:guide id="4" orient="horz" pos="672" userDrawn="1">
          <p15:clr>
            <a:srgbClr val="A4A3A4"/>
          </p15:clr>
        </p15:guide>
        <p15:guide id="5" pos="5678">
          <p15:clr>
            <a:srgbClr val="A4A3A4"/>
          </p15:clr>
        </p15:guide>
        <p15:guide id="6" pos="83">
          <p15:clr>
            <a:srgbClr val="A4A3A4"/>
          </p15:clr>
        </p15:guide>
        <p15:guide id="7" pos="2832" userDrawn="1">
          <p15:clr>
            <a:srgbClr val="A4A3A4"/>
          </p15:clr>
        </p15:guide>
        <p15:guide id="8" pos="1512" userDrawn="1">
          <p15:clr>
            <a:srgbClr val="A4A3A4"/>
          </p15:clr>
        </p15:guide>
        <p15:guide id="9" pos="5606">
          <p15:clr>
            <a:srgbClr val="A4A3A4"/>
          </p15:clr>
        </p15:guide>
        <p15:guide id="10" pos="5208" userDrawn="1">
          <p15:clr>
            <a:srgbClr val="A4A3A4"/>
          </p15:clr>
        </p15:guide>
        <p15:guide id="11" pos="2641">
          <p15:clr>
            <a:srgbClr val="A4A3A4"/>
          </p15:clr>
        </p15:guide>
        <p15:guide id="12" pos="3516">
          <p15:clr>
            <a:srgbClr val="A4A3A4"/>
          </p15:clr>
        </p15:guide>
        <p15:guide id="13" pos="4560" userDrawn="1">
          <p15:clr>
            <a:srgbClr val="A4A3A4"/>
          </p15:clr>
        </p15:guide>
        <p15:guide id="14" pos="125">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77ED56-A0F0-1296-6384-C00DADBE0B69}" name="Ramesh Subrahmanyam" initials="RS" userId="S::rsubrahmanyam@applieddatafinance.com::a5f60a78-cc36-4710-bd9a-93126ec3fcb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evin Pazar" initials="KP" lastIdx="1" clrIdx="0"/>
  <p:cmAuthor id="2" name="Stine Barnes" initials="SB" lastIdx="5" clrIdx="1">
    <p:extLst>
      <p:ext uri="{19B8F6BF-5375-455C-9EA6-DF929625EA0E}">
        <p15:presenceInfo xmlns:p15="http://schemas.microsoft.com/office/powerpoint/2012/main" userId="S::sbarnes@applieddatafinance.com::38edad6f-3e39-4a08-8ffa-57cbd8abe660" providerId="AD"/>
      </p:ext>
    </p:extLst>
  </p:cmAuthor>
  <p:cmAuthor id="3" name="Santhoshkumar A" initials="SA" lastIdx="2" clrIdx="2">
    <p:extLst>
      <p:ext uri="{19B8F6BF-5375-455C-9EA6-DF929625EA0E}">
        <p15:presenceInfo xmlns:p15="http://schemas.microsoft.com/office/powerpoint/2012/main" userId="S::santhoshkumar.a@applieddatafinance.com::72cd0347-49b2-4afd-abb1-e13c65f6ed4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EF2"/>
    <a:srgbClr val="D3D3D3"/>
    <a:srgbClr val="000000"/>
    <a:srgbClr val="418AB3"/>
    <a:srgbClr val="464646"/>
    <a:srgbClr val="EEEDEF"/>
    <a:srgbClr val="424242"/>
    <a:srgbClr val="5194BA"/>
    <a:srgbClr val="254F67"/>
    <a:srgbClr val="B3C6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88D909-E452-431C-A5AD-B280061453B8}" v="66" dt="2025-01-06T04:47:56.6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113" autoAdjust="0"/>
    <p:restoredTop sz="96247" autoAdjust="0"/>
  </p:normalViewPr>
  <p:slideViewPr>
    <p:cSldViewPr snapToGrid="0">
      <p:cViewPr>
        <p:scale>
          <a:sx n="90" d="100"/>
          <a:sy n="90" d="100"/>
        </p:scale>
        <p:origin x="2748" y="534"/>
      </p:cViewPr>
      <p:guideLst>
        <p:guide orient="horz" pos="456"/>
        <p:guide orient="horz" pos="264"/>
        <p:guide orient="horz" pos="4102"/>
        <p:guide orient="horz" pos="672"/>
        <p:guide pos="5678"/>
        <p:guide pos="83"/>
        <p:guide pos="2832"/>
        <p:guide pos="1512"/>
        <p:guide pos="5606"/>
        <p:guide pos="5208"/>
        <p:guide pos="2641"/>
        <p:guide pos="3516"/>
        <p:guide pos="4560"/>
        <p:guide pos="12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4675"/>
    </p:cViewPr>
  </p:sorterViewPr>
  <p:notesViewPr>
    <p:cSldViewPr snapToGrid="0">
      <p:cViewPr varScale="1">
        <p:scale>
          <a:sx n="94" d="100"/>
          <a:sy n="94"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hishek Kumar Sharma" userId="50056662-f598-4bf6-81b2-5d9d1fc34a6b" providerId="ADAL" clId="{0C88D909-E452-431C-A5AD-B280061453B8}"/>
    <pc:docChg chg="undo custSel addSld delSld modSld sldOrd">
      <pc:chgData name="Abhishek Kumar Sharma" userId="50056662-f598-4bf6-81b2-5d9d1fc34a6b" providerId="ADAL" clId="{0C88D909-E452-431C-A5AD-B280061453B8}" dt="2025-01-06T04:48:09.610" v="2732" actId="1076"/>
      <pc:docMkLst>
        <pc:docMk/>
      </pc:docMkLst>
      <pc:sldChg chg="addSp delSp modSp mod">
        <pc:chgData name="Abhishek Kumar Sharma" userId="50056662-f598-4bf6-81b2-5d9d1fc34a6b" providerId="ADAL" clId="{0C88D909-E452-431C-A5AD-B280061453B8}" dt="2025-01-05T14:57:11.298" v="162" actId="21"/>
        <pc:sldMkLst>
          <pc:docMk/>
          <pc:sldMk cId="588802189" sldId="1552"/>
        </pc:sldMkLst>
        <pc:spChg chg="mod">
          <ac:chgData name="Abhishek Kumar Sharma" userId="50056662-f598-4bf6-81b2-5d9d1fc34a6b" providerId="ADAL" clId="{0C88D909-E452-431C-A5AD-B280061453B8}" dt="2025-01-05T14:51:57.068" v="95" actId="20577"/>
          <ac:spMkLst>
            <pc:docMk/>
            <pc:sldMk cId="588802189" sldId="1552"/>
            <ac:spMk id="2" creationId="{F16E1AE6-DF04-4C58-B463-C6806D19F47B}"/>
          </ac:spMkLst>
        </pc:spChg>
        <pc:spChg chg="add mod ord">
          <ac:chgData name="Abhishek Kumar Sharma" userId="50056662-f598-4bf6-81b2-5d9d1fc34a6b" providerId="ADAL" clId="{0C88D909-E452-431C-A5AD-B280061453B8}" dt="2025-01-05T14:53:00.892" v="98" actId="13822"/>
          <ac:spMkLst>
            <pc:docMk/>
            <pc:sldMk cId="588802189" sldId="1552"/>
            <ac:spMk id="6" creationId="{3B8ADCC1-49BE-0C85-78C7-721C1F0E0FE4}"/>
          </ac:spMkLst>
        </pc:spChg>
        <pc:spChg chg="add del">
          <ac:chgData name="Abhishek Kumar Sharma" userId="50056662-f598-4bf6-81b2-5d9d1fc34a6b" providerId="ADAL" clId="{0C88D909-E452-431C-A5AD-B280061453B8}" dt="2025-01-05T14:57:11.298" v="162" actId="21"/>
          <ac:spMkLst>
            <pc:docMk/>
            <pc:sldMk cId="588802189" sldId="1552"/>
            <ac:spMk id="7" creationId="{64BC7483-4E63-5560-CD27-E93E918E29D0}"/>
          </ac:spMkLst>
        </pc:spChg>
      </pc:sldChg>
      <pc:sldChg chg="new del">
        <pc:chgData name="Abhishek Kumar Sharma" userId="50056662-f598-4bf6-81b2-5d9d1fc34a6b" providerId="ADAL" clId="{0C88D909-E452-431C-A5AD-B280061453B8}" dt="2025-01-05T14:54:21.924" v="106" actId="47"/>
        <pc:sldMkLst>
          <pc:docMk/>
          <pc:sldMk cId="848335773" sldId="1553"/>
        </pc:sldMkLst>
      </pc:sldChg>
      <pc:sldChg chg="new del">
        <pc:chgData name="Abhishek Kumar Sharma" userId="50056662-f598-4bf6-81b2-5d9d1fc34a6b" providerId="ADAL" clId="{0C88D909-E452-431C-A5AD-B280061453B8}" dt="2025-01-05T14:53:40.561" v="100" actId="2696"/>
        <pc:sldMkLst>
          <pc:docMk/>
          <pc:sldMk cId="2018601590" sldId="1553"/>
        </pc:sldMkLst>
      </pc:sldChg>
      <pc:sldChg chg="new del">
        <pc:chgData name="Abhishek Kumar Sharma" userId="50056662-f598-4bf6-81b2-5d9d1fc34a6b" providerId="ADAL" clId="{0C88D909-E452-431C-A5AD-B280061453B8}" dt="2025-01-05T14:53:48.124" v="102" actId="47"/>
        <pc:sldMkLst>
          <pc:docMk/>
          <pc:sldMk cId="3495533513" sldId="1553"/>
        </pc:sldMkLst>
      </pc:sldChg>
      <pc:sldChg chg="add del">
        <pc:chgData name="Abhishek Kumar Sharma" userId="50056662-f598-4bf6-81b2-5d9d1fc34a6b" providerId="ADAL" clId="{0C88D909-E452-431C-A5AD-B280061453B8}" dt="2025-01-05T14:54:10.283" v="104" actId="47"/>
        <pc:sldMkLst>
          <pc:docMk/>
          <pc:sldMk cId="3651842243" sldId="1553"/>
        </pc:sldMkLst>
      </pc:sldChg>
      <pc:sldChg chg="del">
        <pc:chgData name="Abhishek Kumar Sharma" userId="50056662-f598-4bf6-81b2-5d9d1fc34a6b" providerId="ADAL" clId="{0C88D909-E452-431C-A5AD-B280061453B8}" dt="2025-01-05T14:50:24.570" v="0" actId="47"/>
        <pc:sldMkLst>
          <pc:docMk/>
          <pc:sldMk cId="2889799482" sldId="4561"/>
        </pc:sldMkLst>
      </pc:sldChg>
      <pc:sldChg chg="del">
        <pc:chgData name="Abhishek Kumar Sharma" userId="50056662-f598-4bf6-81b2-5d9d1fc34a6b" providerId="ADAL" clId="{0C88D909-E452-431C-A5AD-B280061453B8}" dt="2025-01-05T14:50:25.735" v="3" actId="47"/>
        <pc:sldMkLst>
          <pc:docMk/>
          <pc:sldMk cId="4197803258" sldId="4605"/>
        </pc:sldMkLst>
      </pc:sldChg>
      <pc:sldChg chg="del">
        <pc:chgData name="Abhishek Kumar Sharma" userId="50056662-f598-4bf6-81b2-5d9d1fc34a6b" providerId="ADAL" clId="{0C88D909-E452-431C-A5AD-B280061453B8}" dt="2025-01-05T14:50:26.880" v="5" actId="47"/>
        <pc:sldMkLst>
          <pc:docMk/>
          <pc:sldMk cId="1633630713" sldId="4608"/>
        </pc:sldMkLst>
      </pc:sldChg>
      <pc:sldChg chg="del">
        <pc:chgData name="Abhishek Kumar Sharma" userId="50056662-f598-4bf6-81b2-5d9d1fc34a6b" providerId="ADAL" clId="{0C88D909-E452-431C-A5AD-B280061453B8}" dt="2025-01-05T14:50:25.340" v="2" actId="47"/>
        <pc:sldMkLst>
          <pc:docMk/>
          <pc:sldMk cId="678842798" sldId="4609"/>
        </pc:sldMkLst>
      </pc:sldChg>
      <pc:sldChg chg="addSp delSp modSp add del mod">
        <pc:chgData name="Abhishek Kumar Sharma" userId="50056662-f598-4bf6-81b2-5d9d1fc34a6b" providerId="ADAL" clId="{0C88D909-E452-431C-A5AD-B280061453B8}" dt="2025-01-05T16:39:58.279" v="516" actId="1076"/>
        <pc:sldMkLst>
          <pc:docMk/>
          <pc:sldMk cId="1085228929" sldId="4610"/>
        </pc:sldMkLst>
        <pc:spChg chg="add del mod">
          <ac:chgData name="Abhishek Kumar Sharma" userId="50056662-f598-4bf6-81b2-5d9d1fc34a6b" providerId="ADAL" clId="{0C88D909-E452-431C-A5AD-B280061453B8}" dt="2025-01-05T14:56:40.709" v="159" actId="478"/>
          <ac:spMkLst>
            <pc:docMk/>
            <pc:sldMk cId="1085228929" sldId="4610"/>
            <ac:spMk id="4" creationId="{F93C38AC-7A7C-8CBE-B2F1-2E0F188DD1A9}"/>
          </ac:spMkLst>
        </pc:spChg>
        <pc:spChg chg="add del">
          <ac:chgData name="Abhishek Kumar Sharma" userId="50056662-f598-4bf6-81b2-5d9d1fc34a6b" providerId="ADAL" clId="{0C88D909-E452-431C-A5AD-B280061453B8}" dt="2025-01-05T14:56:37.144" v="156" actId="478"/>
          <ac:spMkLst>
            <pc:docMk/>
            <pc:sldMk cId="1085228929" sldId="4610"/>
            <ac:spMk id="5" creationId="{94AC7AFC-160A-A648-C606-DDF61D6303FD}"/>
          </ac:spMkLst>
        </pc:spChg>
        <pc:spChg chg="add del mod">
          <ac:chgData name="Abhishek Kumar Sharma" userId="50056662-f598-4bf6-81b2-5d9d1fc34a6b" providerId="ADAL" clId="{0C88D909-E452-431C-A5AD-B280061453B8}" dt="2025-01-05T14:56:07.870" v="150" actId="478"/>
          <ac:spMkLst>
            <pc:docMk/>
            <pc:sldMk cId="1085228929" sldId="4610"/>
            <ac:spMk id="6" creationId="{F8474710-8CE5-BED8-D39D-1DBF3861772E}"/>
          </ac:spMkLst>
        </pc:spChg>
        <pc:spChg chg="add mod">
          <ac:chgData name="Abhishek Kumar Sharma" userId="50056662-f598-4bf6-81b2-5d9d1fc34a6b" providerId="ADAL" clId="{0C88D909-E452-431C-A5AD-B280061453B8}" dt="2025-01-05T14:56:04.570" v="144" actId="20577"/>
          <ac:spMkLst>
            <pc:docMk/>
            <pc:sldMk cId="1085228929" sldId="4610"/>
            <ac:spMk id="7" creationId="{D06C392A-5799-4B0D-762C-8931E2297162}"/>
          </ac:spMkLst>
        </pc:spChg>
        <pc:spChg chg="add del mod">
          <ac:chgData name="Abhishek Kumar Sharma" userId="50056662-f598-4bf6-81b2-5d9d1fc34a6b" providerId="ADAL" clId="{0C88D909-E452-431C-A5AD-B280061453B8}" dt="2025-01-05T14:56:33.402" v="155" actId="478"/>
          <ac:spMkLst>
            <pc:docMk/>
            <pc:sldMk cId="1085228929" sldId="4610"/>
            <ac:spMk id="8" creationId="{31C4C38B-32EB-6829-DF4B-7094D83C3898}"/>
          </ac:spMkLst>
        </pc:spChg>
        <pc:spChg chg="add del mod">
          <ac:chgData name="Abhishek Kumar Sharma" userId="50056662-f598-4bf6-81b2-5d9d1fc34a6b" providerId="ADAL" clId="{0C88D909-E452-431C-A5AD-B280061453B8}" dt="2025-01-05T14:56:33.402" v="155" actId="478"/>
          <ac:spMkLst>
            <pc:docMk/>
            <pc:sldMk cId="1085228929" sldId="4610"/>
            <ac:spMk id="9" creationId="{07262BBB-0B0A-7212-4551-03F456474282}"/>
          </ac:spMkLst>
        </pc:spChg>
        <pc:spChg chg="add del mod">
          <ac:chgData name="Abhishek Kumar Sharma" userId="50056662-f598-4bf6-81b2-5d9d1fc34a6b" providerId="ADAL" clId="{0C88D909-E452-431C-A5AD-B280061453B8}" dt="2025-01-05T14:56:38.940" v="158" actId="478"/>
          <ac:spMkLst>
            <pc:docMk/>
            <pc:sldMk cId="1085228929" sldId="4610"/>
            <ac:spMk id="11" creationId="{E5ACEEC1-F1A4-E9D5-DBB9-FCB4613F37BC}"/>
          </ac:spMkLst>
        </pc:spChg>
        <pc:spChg chg="add del mod">
          <ac:chgData name="Abhishek Kumar Sharma" userId="50056662-f598-4bf6-81b2-5d9d1fc34a6b" providerId="ADAL" clId="{0C88D909-E452-431C-A5AD-B280061453B8}" dt="2025-01-05T14:56:33.402" v="155" actId="478"/>
          <ac:spMkLst>
            <pc:docMk/>
            <pc:sldMk cId="1085228929" sldId="4610"/>
            <ac:spMk id="12" creationId="{3C67C03E-411E-9C45-6839-9F1F58EE0F04}"/>
          </ac:spMkLst>
        </pc:spChg>
        <pc:spChg chg="add del mod">
          <ac:chgData name="Abhishek Kumar Sharma" userId="50056662-f598-4bf6-81b2-5d9d1fc34a6b" providerId="ADAL" clId="{0C88D909-E452-431C-A5AD-B280061453B8}" dt="2025-01-05T14:56:33.402" v="155" actId="478"/>
          <ac:spMkLst>
            <pc:docMk/>
            <pc:sldMk cId="1085228929" sldId="4610"/>
            <ac:spMk id="13" creationId="{42D0D9D1-A6D6-98ED-6409-739B32810A21}"/>
          </ac:spMkLst>
        </pc:spChg>
        <pc:spChg chg="add del mod">
          <ac:chgData name="Abhishek Kumar Sharma" userId="50056662-f598-4bf6-81b2-5d9d1fc34a6b" providerId="ADAL" clId="{0C88D909-E452-431C-A5AD-B280061453B8}" dt="2025-01-05T14:56:42.596" v="160" actId="478"/>
          <ac:spMkLst>
            <pc:docMk/>
            <pc:sldMk cId="1085228929" sldId="4610"/>
            <ac:spMk id="16" creationId="{3737D950-8D94-D0FD-0419-99D6912074BB}"/>
          </ac:spMkLst>
        </pc:spChg>
        <pc:spChg chg="add mod">
          <ac:chgData name="Abhishek Kumar Sharma" userId="50056662-f598-4bf6-81b2-5d9d1fc34a6b" providerId="ADAL" clId="{0C88D909-E452-431C-A5AD-B280061453B8}" dt="2025-01-05T14:57:47.098" v="167" actId="20577"/>
          <ac:spMkLst>
            <pc:docMk/>
            <pc:sldMk cId="1085228929" sldId="4610"/>
            <ac:spMk id="17" creationId="{64BC7483-4E63-5560-CD27-E93E918E29D0}"/>
          </ac:spMkLst>
        </pc:spChg>
        <pc:spChg chg="add mod">
          <ac:chgData name="Abhishek Kumar Sharma" userId="50056662-f598-4bf6-81b2-5d9d1fc34a6b" providerId="ADAL" clId="{0C88D909-E452-431C-A5AD-B280061453B8}" dt="2025-01-05T15:01:29.834" v="224"/>
          <ac:spMkLst>
            <pc:docMk/>
            <pc:sldMk cId="1085228929" sldId="4610"/>
            <ac:spMk id="22" creationId="{B3441048-96C7-3328-CBB5-5A5143823689}"/>
          </ac:spMkLst>
        </pc:spChg>
        <pc:spChg chg="add mod">
          <ac:chgData name="Abhishek Kumar Sharma" userId="50056662-f598-4bf6-81b2-5d9d1fc34a6b" providerId="ADAL" clId="{0C88D909-E452-431C-A5AD-B280061453B8}" dt="2025-01-05T15:01:29.834" v="224"/>
          <ac:spMkLst>
            <pc:docMk/>
            <pc:sldMk cId="1085228929" sldId="4610"/>
            <ac:spMk id="23" creationId="{6C9A8EC1-83F7-0ECD-F40F-8A44951358A5}"/>
          </ac:spMkLst>
        </pc:spChg>
        <pc:spChg chg="add mod">
          <ac:chgData name="Abhishek Kumar Sharma" userId="50056662-f598-4bf6-81b2-5d9d1fc34a6b" providerId="ADAL" clId="{0C88D909-E452-431C-A5AD-B280061453B8}" dt="2025-01-05T16:17:52.214" v="284" actId="6549"/>
          <ac:spMkLst>
            <pc:docMk/>
            <pc:sldMk cId="1085228929" sldId="4610"/>
            <ac:spMk id="27" creationId="{B2B0B2B7-F9D5-E6C1-2994-D7BBDD3F2607}"/>
          </ac:spMkLst>
        </pc:spChg>
        <pc:spChg chg="add mod">
          <ac:chgData name="Abhishek Kumar Sharma" userId="50056662-f598-4bf6-81b2-5d9d1fc34a6b" providerId="ADAL" clId="{0C88D909-E452-431C-A5AD-B280061453B8}" dt="2025-01-05T16:34:46.342" v="441" actId="1076"/>
          <ac:spMkLst>
            <pc:docMk/>
            <pc:sldMk cId="1085228929" sldId="4610"/>
            <ac:spMk id="28" creationId="{4C0EC8F8-8D7C-A16B-63DD-A1A909778563}"/>
          </ac:spMkLst>
        </pc:spChg>
        <pc:spChg chg="add mod">
          <ac:chgData name="Abhishek Kumar Sharma" userId="50056662-f598-4bf6-81b2-5d9d1fc34a6b" providerId="ADAL" clId="{0C88D909-E452-431C-A5AD-B280061453B8}" dt="2025-01-05T16:34:46.342" v="441" actId="1076"/>
          <ac:spMkLst>
            <pc:docMk/>
            <pc:sldMk cId="1085228929" sldId="4610"/>
            <ac:spMk id="30" creationId="{177CB7CE-AF41-6D46-C258-06C59D14A9BD}"/>
          </ac:spMkLst>
        </pc:spChg>
        <pc:spChg chg="add del mod">
          <ac:chgData name="Abhishek Kumar Sharma" userId="50056662-f598-4bf6-81b2-5d9d1fc34a6b" providerId="ADAL" clId="{0C88D909-E452-431C-A5AD-B280061453B8}" dt="2025-01-05T16:39:21.920" v="510" actId="1076"/>
          <ac:spMkLst>
            <pc:docMk/>
            <pc:sldMk cId="1085228929" sldId="4610"/>
            <ac:spMk id="31" creationId="{3D10E636-42D3-DCFB-0464-26C6C8DBA61A}"/>
          </ac:spMkLst>
        </pc:spChg>
        <pc:spChg chg="add mod">
          <ac:chgData name="Abhishek Kumar Sharma" userId="50056662-f598-4bf6-81b2-5d9d1fc34a6b" providerId="ADAL" clId="{0C88D909-E452-431C-A5AD-B280061453B8}" dt="2025-01-05T16:39:21.920" v="510" actId="1076"/>
          <ac:spMkLst>
            <pc:docMk/>
            <pc:sldMk cId="1085228929" sldId="4610"/>
            <ac:spMk id="32" creationId="{F7AA4505-B73A-022B-632F-92B7613063A2}"/>
          </ac:spMkLst>
        </pc:spChg>
        <pc:spChg chg="add">
          <ac:chgData name="Abhishek Kumar Sharma" userId="50056662-f598-4bf6-81b2-5d9d1fc34a6b" providerId="ADAL" clId="{0C88D909-E452-431C-A5AD-B280061453B8}" dt="2025-01-05T16:25:34.994" v="321"/>
          <ac:spMkLst>
            <pc:docMk/>
            <pc:sldMk cId="1085228929" sldId="4610"/>
            <ac:spMk id="33" creationId="{AEB7EC20-5C52-B024-7B78-7CE26E0FCC26}"/>
          </ac:spMkLst>
        </pc:spChg>
        <pc:spChg chg="add mod">
          <ac:chgData name="Abhishek Kumar Sharma" userId="50056662-f598-4bf6-81b2-5d9d1fc34a6b" providerId="ADAL" clId="{0C88D909-E452-431C-A5AD-B280061453B8}" dt="2025-01-05T16:25:48.158" v="325" actId="1076"/>
          <ac:spMkLst>
            <pc:docMk/>
            <pc:sldMk cId="1085228929" sldId="4610"/>
            <ac:spMk id="34" creationId="{0C827C49-F8F3-6AE7-F499-B210AD3B06DC}"/>
          </ac:spMkLst>
        </pc:spChg>
        <pc:spChg chg="add mod">
          <ac:chgData name="Abhishek Kumar Sharma" userId="50056662-f598-4bf6-81b2-5d9d1fc34a6b" providerId="ADAL" clId="{0C88D909-E452-431C-A5AD-B280061453B8}" dt="2025-01-05T16:34:24.690" v="436"/>
          <ac:spMkLst>
            <pc:docMk/>
            <pc:sldMk cId="1085228929" sldId="4610"/>
            <ac:spMk id="35" creationId="{833D6428-F6E5-481E-9C29-1118F50D6A17}"/>
          </ac:spMkLst>
        </pc:spChg>
        <pc:spChg chg="add mod">
          <ac:chgData name="Abhishek Kumar Sharma" userId="50056662-f598-4bf6-81b2-5d9d1fc34a6b" providerId="ADAL" clId="{0C88D909-E452-431C-A5AD-B280061453B8}" dt="2025-01-05T16:34:24.690" v="436"/>
          <ac:spMkLst>
            <pc:docMk/>
            <pc:sldMk cId="1085228929" sldId="4610"/>
            <ac:spMk id="36" creationId="{9379D6E3-FBA7-5C82-8327-4401DB9A44A0}"/>
          </ac:spMkLst>
        </pc:spChg>
        <pc:spChg chg="add mod">
          <ac:chgData name="Abhishek Kumar Sharma" userId="50056662-f598-4bf6-81b2-5d9d1fc34a6b" providerId="ADAL" clId="{0C88D909-E452-431C-A5AD-B280061453B8}" dt="2025-01-05T16:34:32.479" v="439" actId="1076"/>
          <ac:spMkLst>
            <pc:docMk/>
            <pc:sldMk cId="1085228929" sldId="4610"/>
            <ac:spMk id="37" creationId="{E43F2D9D-6B24-6B68-7977-EBE540216D70}"/>
          </ac:spMkLst>
        </pc:spChg>
        <pc:spChg chg="add mod">
          <ac:chgData name="Abhishek Kumar Sharma" userId="50056662-f598-4bf6-81b2-5d9d1fc34a6b" providerId="ADAL" clId="{0C88D909-E452-431C-A5AD-B280061453B8}" dt="2025-01-05T16:34:32.479" v="439" actId="1076"/>
          <ac:spMkLst>
            <pc:docMk/>
            <pc:sldMk cId="1085228929" sldId="4610"/>
            <ac:spMk id="38" creationId="{5B7F3EC7-09D0-0D89-5C3C-C5116508165D}"/>
          </ac:spMkLst>
        </pc:spChg>
        <pc:spChg chg="add mod">
          <ac:chgData name="Abhishek Kumar Sharma" userId="50056662-f598-4bf6-81b2-5d9d1fc34a6b" providerId="ADAL" clId="{0C88D909-E452-431C-A5AD-B280061453B8}" dt="2025-01-05T16:39:32.626" v="511" actId="1076"/>
          <ac:spMkLst>
            <pc:docMk/>
            <pc:sldMk cId="1085228929" sldId="4610"/>
            <ac:spMk id="39" creationId="{C80DEF10-7F29-0595-BDA5-DD35DF6B65A2}"/>
          </ac:spMkLst>
        </pc:spChg>
        <pc:spChg chg="add mod">
          <ac:chgData name="Abhishek Kumar Sharma" userId="50056662-f598-4bf6-81b2-5d9d1fc34a6b" providerId="ADAL" clId="{0C88D909-E452-431C-A5AD-B280061453B8}" dt="2025-01-05T16:39:32.626" v="511" actId="1076"/>
          <ac:spMkLst>
            <pc:docMk/>
            <pc:sldMk cId="1085228929" sldId="4610"/>
            <ac:spMk id="40" creationId="{DDEBBDC7-3A73-7733-C2D8-9E922C97B21C}"/>
          </ac:spMkLst>
        </pc:spChg>
        <pc:spChg chg="add mod">
          <ac:chgData name="Abhishek Kumar Sharma" userId="50056662-f598-4bf6-81b2-5d9d1fc34a6b" providerId="ADAL" clId="{0C88D909-E452-431C-A5AD-B280061453B8}" dt="2025-01-05T16:39:55.242" v="515" actId="14100"/>
          <ac:spMkLst>
            <pc:docMk/>
            <pc:sldMk cId="1085228929" sldId="4610"/>
            <ac:spMk id="41" creationId="{49E64B7F-C49B-46D3-DBDF-C0FE3C1FEF92}"/>
          </ac:spMkLst>
        </pc:spChg>
        <pc:spChg chg="add mod">
          <ac:chgData name="Abhishek Kumar Sharma" userId="50056662-f598-4bf6-81b2-5d9d1fc34a6b" providerId="ADAL" clId="{0C88D909-E452-431C-A5AD-B280061453B8}" dt="2025-01-05T16:39:58.279" v="516" actId="1076"/>
          <ac:spMkLst>
            <pc:docMk/>
            <pc:sldMk cId="1085228929" sldId="4610"/>
            <ac:spMk id="42" creationId="{6C115830-D093-7C69-9B35-0E784FCE99BB}"/>
          </ac:spMkLst>
        </pc:spChg>
        <pc:graphicFrameChg chg="add del mod">
          <ac:chgData name="Abhishek Kumar Sharma" userId="50056662-f598-4bf6-81b2-5d9d1fc34a6b" providerId="ADAL" clId="{0C88D909-E452-431C-A5AD-B280061453B8}" dt="2025-01-05T14:56:33.402" v="155" actId="478"/>
          <ac:graphicFrameMkLst>
            <pc:docMk/>
            <pc:sldMk cId="1085228929" sldId="4610"/>
            <ac:graphicFrameMk id="10" creationId="{A7F4715D-841C-2170-7DF4-F73DB1133A8E}"/>
          </ac:graphicFrameMkLst>
        </pc:graphicFrameChg>
        <pc:graphicFrameChg chg="add del">
          <ac:chgData name="Abhishek Kumar Sharma" userId="50056662-f598-4bf6-81b2-5d9d1fc34a6b" providerId="ADAL" clId="{0C88D909-E452-431C-A5AD-B280061453B8}" dt="2025-01-05T14:56:37.144" v="156" actId="478"/>
          <ac:graphicFrameMkLst>
            <pc:docMk/>
            <pc:sldMk cId="1085228929" sldId="4610"/>
            <ac:graphicFrameMk id="15" creationId="{F1BEAAC7-785B-4713-8721-1BF7F4C00D6C}"/>
          </ac:graphicFrameMkLst>
        </pc:graphicFrameChg>
        <pc:picChg chg="add del mod">
          <ac:chgData name="Abhishek Kumar Sharma" userId="50056662-f598-4bf6-81b2-5d9d1fc34a6b" providerId="ADAL" clId="{0C88D909-E452-431C-A5AD-B280061453B8}" dt="2025-01-05T14:58:34.823" v="170" actId="478"/>
          <ac:picMkLst>
            <pc:docMk/>
            <pc:sldMk cId="1085228929" sldId="4610"/>
            <ac:picMk id="19" creationId="{98DB9E1D-B899-7310-6428-24408DF6CB33}"/>
          </ac:picMkLst>
        </pc:picChg>
        <pc:picChg chg="add mod modCrop">
          <ac:chgData name="Abhishek Kumar Sharma" userId="50056662-f598-4bf6-81b2-5d9d1fc34a6b" providerId="ADAL" clId="{0C88D909-E452-431C-A5AD-B280061453B8}" dt="2025-01-05T14:59:37.211" v="179" actId="732"/>
          <ac:picMkLst>
            <pc:docMk/>
            <pc:sldMk cId="1085228929" sldId="4610"/>
            <ac:picMk id="21" creationId="{067B94E9-6316-0A99-CB26-D51F592ACCCA}"/>
          </ac:picMkLst>
        </pc:picChg>
        <pc:picChg chg="add mod">
          <ac:chgData name="Abhishek Kumar Sharma" userId="50056662-f598-4bf6-81b2-5d9d1fc34a6b" providerId="ADAL" clId="{0C88D909-E452-431C-A5AD-B280061453B8}" dt="2025-01-05T15:01:29.834" v="224"/>
          <ac:picMkLst>
            <pc:docMk/>
            <pc:sldMk cId="1085228929" sldId="4610"/>
            <ac:picMk id="24" creationId="{951C25EA-AA1A-A7CF-66C7-2C0328F9BEA1}"/>
          </ac:picMkLst>
        </pc:picChg>
        <pc:picChg chg="add del mod">
          <ac:chgData name="Abhishek Kumar Sharma" userId="50056662-f598-4bf6-81b2-5d9d1fc34a6b" providerId="ADAL" clId="{0C88D909-E452-431C-A5AD-B280061453B8}" dt="2025-01-05T16:15:47.933" v="228" actId="21"/>
          <ac:picMkLst>
            <pc:docMk/>
            <pc:sldMk cId="1085228929" sldId="4610"/>
            <ac:picMk id="26" creationId="{07DF7813-7BDD-DE19-CCCD-CD52256F43D1}"/>
          </ac:picMkLst>
        </pc:picChg>
      </pc:sldChg>
      <pc:sldChg chg="addSp delSp modSp new mod">
        <pc:chgData name="Abhishek Kumar Sharma" userId="50056662-f598-4bf6-81b2-5d9d1fc34a6b" providerId="ADAL" clId="{0C88D909-E452-431C-A5AD-B280061453B8}" dt="2025-01-06T04:48:09.610" v="2732" actId="1076"/>
        <pc:sldMkLst>
          <pc:docMk/>
          <pc:sldMk cId="1870221744" sldId="4611"/>
        </pc:sldMkLst>
        <pc:spChg chg="del">
          <ac:chgData name="Abhishek Kumar Sharma" userId="50056662-f598-4bf6-81b2-5d9d1fc34a6b" providerId="ADAL" clId="{0C88D909-E452-431C-A5AD-B280061453B8}" dt="2025-01-05T16:15:54.728" v="230" actId="478"/>
          <ac:spMkLst>
            <pc:docMk/>
            <pc:sldMk cId="1870221744" sldId="4611"/>
            <ac:spMk id="2" creationId="{C66EEB74-77C7-5152-EFC3-FB6E6FC5B6F2}"/>
          </ac:spMkLst>
        </pc:spChg>
        <pc:spChg chg="add mod">
          <ac:chgData name="Abhishek Kumar Sharma" userId="50056662-f598-4bf6-81b2-5d9d1fc34a6b" providerId="ADAL" clId="{0C88D909-E452-431C-A5AD-B280061453B8}" dt="2025-01-05T15:01:27.164" v="223"/>
          <ac:spMkLst>
            <pc:docMk/>
            <pc:sldMk cId="1870221744" sldId="4611"/>
            <ac:spMk id="3" creationId="{BB303E68-D833-DC6C-C3FD-C0A19101FD02}"/>
          </ac:spMkLst>
        </pc:spChg>
        <pc:spChg chg="add mod">
          <ac:chgData name="Abhishek Kumar Sharma" userId="50056662-f598-4bf6-81b2-5d9d1fc34a6b" providerId="ADAL" clId="{0C88D909-E452-431C-A5AD-B280061453B8}" dt="2025-01-05T15:01:27.164" v="223"/>
          <ac:spMkLst>
            <pc:docMk/>
            <pc:sldMk cId="1870221744" sldId="4611"/>
            <ac:spMk id="4" creationId="{B3A468EF-E20D-90D6-D88B-23D0F3F643ED}"/>
          </ac:spMkLst>
        </pc:spChg>
        <pc:spChg chg="add del mod">
          <ac:chgData name="Abhishek Kumar Sharma" userId="50056662-f598-4bf6-81b2-5d9d1fc34a6b" providerId="ADAL" clId="{0C88D909-E452-431C-A5AD-B280061453B8}" dt="2025-01-05T16:34:14.613" v="435" actId="21"/>
          <ac:spMkLst>
            <pc:docMk/>
            <pc:sldMk cId="1870221744" sldId="4611"/>
            <ac:spMk id="6" creationId="{A1BAA44A-AEEB-98D8-4657-4FEBBA07B22B}"/>
          </ac:spMkLst>
        </pc:spChg>
        <pc:spChg chg="add mod">
          <ac:chgData name="Abhishek Kumar Sharma" userId="50056662-f598-4bf6-81b2-5d9d1fc34a6b" providerId="ADAL" clId="{0C88D909-E452-431C-A5AD-B280061453B8}" dt="2025-01-05T16:40:21.586" v="535" actId="313"/>
          <ac:spMkLst>
            <pc:docMk/>
            <pc:sldMk cId="1870221744" sldId="4611"/>
            <ac:spMk id="7" creationId="{A64D636B-33D1-2945-17BD-E5BF9FB8E2DE}"/>
          </ac:spMkLst>
        </pc:spChg>
        <pc:spChg chg="add del mod">
          <ac:chgData name="Abhishek Kumar Sharma" userId="50056662-f598-4bf6-81b2-5d9d1fc34a6b" providerId="ADAL" clId="{0C88D909-E452-431C-A5AD-B280061453B8}" dt="2025-01-05T16:36:15.235" v="463" actId="21"/>
          <ac:spMkLst>
            <pc:docMk/>
            <pc:sldMk cId="1870221744" sldId="4611"/>
            <ac:spMk id="8" creationId="{49E64B7F-C49B-46D3-DBDF-C0FE3C1FEF92}"/>
          </ac:spMkLst>
        </pc:spChg>
        <pc:spChg chg="add del mod">
          <ac:chgData name="Abhishek Kumar Sharma" userId="50056662-f598-4bf6-81b2-5d9d1fc34a6b" providerId="ADAL" clId="{0C88D909-E452-431C-A5AD-B280061453B8}" dt="2025-01-05T16:36:15.235" v="463" actId="21"/>
          <ac:spMkLst>
            <pc:docMk/>
            <pc:sldMk cId="1870221744" sldId="4611"/>
            <ac:spMk id="9" creationId="{6C115830-D093-7C69-9B35-0E784FCE99BB}"/>
          </ac:spMkLst>
        </pc:spChg>
        <pc:spChg chg="add">
          <ac:chgData name="Abhishek Kumar Sharma" userId="50056662-f598-4bf6-81b2-5d9d1fc34a6b" providerId="ADAL" clId="{0C88D909-E452-431C-A5AD-B280061453B8}" dt="2025-01-05T16:33:38.198" v="430"/>
          <ac:spMkLst>
            <pc:docMk/>
            <pc:sldMk cId="1870221744" sldId="4611"/>
            <ac:spMk id="10" creationId="{BC9E6EA6-2D0A-822E-0D4A-5D88FC39E813}"/>
          </ac:spMkLst>
        </pc:spChg>
        <pc:spChg chg="add mod">
          <ac:chgData name="Abhishek Kumar Sharma" userId="50056662-f598-4bf6-81b2-5d9d1fc34a6b" providerId="ADAL" clId="{0C88D909-E452-431C-A5AD-B280061453B8}" dt="2025-01-05T16:56:09.539" v="1289" actId="14100"/>
          <ac:spMkLst>
            <pc:docMk/>
            <pc:sldMk cId="1870221744" sldId="4611"/>
            <ac:spMk id="11" creationId="{DDEE9F28-2F77-D2AA-D050-23A034740CA6}"/>
          </ac:spMkLst>
        </pc:spChg>
        <pc:spChg chg="add mod">
          <ac:chgData name="Abhishek Kumar Sharma" userId="50056662-f598-4bf6-81b2-5d9d1fc34a6b" providerId="ADAL" clId="{0C88D909-E452-431C-A5AD-B280061453B8}" dt="2025-01-06T04:46:29.374" v="2723" actId="313"/>
          <ac:spMkLst>
            <pc:docMk/>
            <pc:sldMk cId="1870221744" sldId="4611"/>
            <ac:spMk id="12" creationId="{355A4001-DF3B-46EC-DC5B-88B112A46D5F}"/>
          </ac:spMkLst>
        </pc:spChg>
        <pc:picChg chg="add mod">
          <ac:chgData name="Abhishek Kumar Sharma" userId="50056662-f598-4bf6-81b2-5d9d1fc34a6b" providerId="ADAL" clId="{0C88D909-E452-431C-A5AD-B280061453B8}" dt="2025-01-05T15:01:27.164" v="223"/>
          <ac:picMkLst>
            <pc:docMk/>
            <pc:sldMk cId="1870221744" sldId="4611"/>
            <ac:picMk id="5" creationId="{8595D50E-801F-4824-7BF6-62565BCAC38C}"/>
          </ac:picMkLst>
        </pc:picChg>
        <pc:picChg chg="add del mod">
          <ac:chgData name="Abhishek Kumar Sharma" userId="50056662-f598-4bf6-81b2-5d9d1fc34a6b" providerId="ADAL" clId="{0C88D909-E452-431C-A5AD-B280061453B8}" dt="2025-01-06T04:47:55.485" v="2724" actId="478"/>
          <ac:picMkLst>
            <pc:docMk/>
            <pc:sldMk cId="1870221744" sldId="4611"/>
            <ac:picMk id="8" creationId="{00AD239A-FA88-085C-F26F-175D59CD9DE0}"/>
          </ac:picMkLst>
        </pc:picChg>
        <pc:picChg chg="add mod">
          <ac:chgData name="Abhishek Kumar Sharma" userId="50056662-f598-4bf6-81b2-5d9d1fc34a6b" providerId="ADAL" clId="{0C88D909-E452-431C-A5AD-B280061453B8}" dt="2025-01-06T04:48:09.610" v="2732" actId="1076"/>
          <ac:picMkLst>
            <pc:docMk/>
            <pc:sldMk cId="1870221744" sldId="4611"/>
            <ac:picMk id="10" creationId="{688844E0-336F-BC02-F6DF-355DD57B3C7F}"/>
          </ac:picMkLst>
        </pc:picChg>
        <pc:picChg chg="add del mod modCrop">
          <ac:chgData name="Abhishek Kumar Sharma" userId="50056662-f598-4bf6-81b2-5d9d1fc34a6b" providerId="ADAL" clId="{0C88D909-E452-431C-A5AD-B280061453B8}" dt="2025-01-06T03:47:13.607" v="2092" actId="478"/>
          <ac:picMkLst>
            <pc:docMk/>
            <pc:sldMk cId="1870221744" sldId="4611"/>
            <ac:picMk id="14" creationId="{517D326B-4417-05A6-5F4B-9B3063707E04}"/>
          </ac:picMkLst>
        </pc:picChg>
        <pc:picChg chg="add del mod modCrop">
          <ac:chgData name="Abhishek Kumar Sharma" userId="50056662-f598-4bf6-81b2-5d9d1fc34a6b" providerId="ADAL" clId="{0C88D909-E452-431C-A5AD-B280061453B8}" dt="2025-01-05T16:55:22.172" v="1275" actId="478"/>
          <ac:picMkLst>
            <pc:docMk/>
            <pc:sldMk cId="1870221744" sldId="4611"/>
            <ac:picMk id="26" creationId="{07DF7813-7BDD-DE19-CCCD-CD52256F43D1}"/>
          </ac:picMkLst>
        </pc:picChg>
      </pc:sldChg>
      <pc:sldChg chg="del">
        <pc:chgData name="Abhishek Kumar Sharma" userId="50056662-f598-4bf6-81b2-5d9d1fc34a6b" providerId="ADAL" clId="{0C88D909-E452-431C-A5AD-B280061453B8}" dt="2025-01-05T14:50:26.298" v="4" actId="47"/>
        <pc:sldMkLst>
          <pc:docMk/>
          <pc:sldMk cId="3421409251" sldId="4611"/>
        </pc:sldMkLst>
      </pc:sldChg>
      <pc:sldChg chg="addSp delSp modSp new mod">
        <pc:chgData name="Abhishek Kumar Sharma" userId="50056662-f598-4bf6-81b2-5d9d1fc34a6b" providerId="ADAL" clId="{0C88D909-E452-431C-A5AD-B280061453B8}" dt="2025-01-05T17:20:15.575" v="1731" actId="20577"/>
        <pc:sldMkLst>
          <pc:docMk/>
          <pc:sldMk cId="2872232264" sldId="4612"/>
        </pc:sldMkLst>
        <pc:spChg chg="del">
          <ac:chgData name="Abhishek Kumar Sharma" userId="50056662-f598-4bf6-81b2-5d9d1fc34a6b" providerId="ADAL" clId="{0C88D909-E452-431C-A5AD-B280061453B8}" dt="2025-01-05T17:06:17.145" v="1426" actId="478"/>
          <ac:spMkLst>
            <pc:docMk/>
            <pc:sldMk cId="2872232264" sldId="4612"/>
            <ac:spMk id="2" creationId="{E9B0C872-F310-3CE9-BD04-C0D65E5566ED}"/>
          </ac:spMkLst>
        </pc:spChg>
        <pc:spChg chg="add mod">
          <ac:chgData name="Abhishek Kumar Sharma" userId="50056662-f598-4bf6-81b2-5d9d1fc34a6b" providerId="ADAL" clId="{0C88D909-E452-431C-A5AD-B280061453B8}" dt="2025-01-05T15:01:25.282" v="222"/>
          <ac:spMkLst>
            <pc:docMk/>
            <pc:sldMk cId="2872232264" sldId="4612"/>
            <ac:spMk id="3" creationId="{6B2C005E-5CCC-47F5-255A-BFBD8B7F2773}"/>
          </ac:spMkLst>
        </pc:spChg>
        <pc:spChg chg="add mod">
          <ac:chgData name="Abhishek Kumar Sharma" userId="50056662-f598-4bf6-81b2-5d9d1fc34a6b" providerId="ADAL" clId="{0C88D909-E452-431C-A5AD-B280061453B8}" dt="2025-01-05T15:01:25.282" v="222"/>
          <ac:spMkLst>
            <pc:docMk/>
            <pc:sldMk cId="2872232264" sldId="4612"/>
            <ac:spMk id="4" creationId="{D0D1AC42-CD8A-9964-F872-4870C46F4170}"/>
          </ac:spMkLst>
        </pc:spChg>
        <pc:spChg chg="add mod">
          <ac:chgData name="Abhishek Kumar Sharma" userId="50056662-f598-4bf6-81b2-5d9d1fc34a6b" providerId="ADAL" clId="{0C88D909-E452-431C-A5AD-B280061453B8}" dt="2025-01-05T17:07:06.037" v="1465" actId="1076"/>
          <ac:spMkLst>
            <pc:docMk/>
            <pc:sldMk cId="2872232264" sldId="4612"/>
            <ac:spMk id="6" creationId="{0A6BF642-F8F5-8DF3-5ECF-76D54EE497A0}"/>
          </ac:spMkLst>
        </pc:spChg>
        <pc:spChg chg="add mod">
          <ac:chgData name="Abhishek Kumar Sharma" userId="50056662-f598-4bf6-81b2-5d9d1fc34a6b" providerId="ADAL" clId="{0C88D909-E452-431C-A5AD-B280061453B8}" dt="2025-01-05T17:20:15.575" v="1731" actId="20577"/>
          <ac:spMkLst>
            <pc:docMk/>
            <pc:sldMk cId="2872232264" sldId="4612"/>
            <ac:spMk id="7" creationId="{43DCA1E0-3A5A-E0E7-7A39-E73798594AB5}"/>
          </ac:spMkLst>
        </pc:spChg>
        <pc:spChg chg="add mod ord">
          <ac:chgData name="Abhishek Kumar Sharma" userId="50056662-f598-4bf6-81b2-5d9d1fc34a6b" providerId="ADAL" clId="{0C88D909-E452-431C-A5AD-B280061453B8}" dt="2025-01-05T17:18:41.329" v="1701" actId="1076"/>
          <ac:spMkLst>
            <pc:docMk/>
            <pc:sldMk cId="2872232264" sldId="4612"/>
            <ac:spMk id="16" creationId="{044C16EB-A8D5-9CE1-B44B-C1DFDCB73F3A}"/>
          </ac:spMkLst>
        </pc:spChg>
        <pc:spChg chg="add mod">
          <ac:chgData name="Abhishek Kumar Sharma" userId="50056662-f598-4bf6-81b2-5d9d1fc34a6b" providerId="ADAL" clId="{0C88D909-E452-431C-A5AD-B280061453B8}" dt="2025-01-05T17:18:48.636" v="1703" actId="1076"/>
          <ac:spMkLst>
            <pc:docMk/>
            <pc:sldMk cId="2872232264" sldId="4612"/>
            <ac:spMk id="17" creationId="{53B44702-D2B2-AEE1-E93B-2E145A21ACE4}"/>
          </ac:spMkLst>
        </pc:spChg>
        <pc:spChg chg="add mod">
          <ac:chgData name="Abhishek Kumar Sharma" userId="50056662-f598-4bf6-81b2-5d9d1fc34a6b" providerId="ADAL" clId="{0C88D909-E452-431C-A5AD-B280061453B8}" dt="2025-01-05T17:18:57.284" v="1706" actId="1036"/>
          <ac:spMkLst>
            <pc:docMk/>
            <pc:sldMk cId="2872232264" sldId="4612"/>
            <ac:spMk id="18" creationId="{50A9F223-3B3C-7CCB-7883-8BA2317CC5FA}"/>
          </ac:spMkLst>
        </pc:spChg>
        <pc:spChg chg="add mod">
          <ac:chgData name="Abhishek Kumar Sharma" userId="50056662-f598-4bf6-81b2-5d9d1fc34a6b" providerId="ADAL" clId="{0C88D909-E452-431C-A5AD-B280061453B8}" dt="2025-01-05T17:19:16.916" v="1710" actId="1076"/>
          <ac:spMkLst>
            <pc:docMk/>
            <pc:sldMk cId="2872232264" sldId="4612"/>
            <ac:spMk id="19" creationId="{5E3BACF1-8CE2-84C5-0BF1-69FE9587A3C8}"/>
          </ac:spMkLst>
        </pc:spChg>
        <pc:spChg chg="add mod">
          <ac:chgData name="Abhishek Kumar Sharma" userId="50056662-f598-4bf6-81b2-5d9d1fc34a6b" providerId="ADAL" clId="{0C88D909-E452-431C-A5AD-B280061453B8}" dt="2025-01-05T17:19:20.854" v="1714" actId="1036"/>
          <ac:spMkLst>
            <pc:docMk/>
            <pc:sldMk cId="2872232264" sldId="4612"/>
            <ac:spMk id="20" creationId="{9E6D0B04-0DD5-C1B1-AA54-A0CDD53AAC76}"/>
          </ac:spMkLst>
        </pc:spChg>
        <pc:spChg chg="add mod">
          <ac:chgData name="Abhishek Kumar Sharma" userId="50056662-f598-4bf6-81b2-5d9d1fc34a6b" providerId="ADAL" clId="{0C88D909-E452-431C-A5AD-B280061453B8}" dt="2025-01-05T17:19:37.773" v="1719" actId="1076"/>
          <ac:spMkLst>
            <pc:docMk/>
            <pc:sldMk cId="2872232264" sldId="4612"/>
            <ac:spMk id="21" creationId="{6BD6C089-09D2-5420-6B48-4F151FCA40DB}"/>
          </ac:spMkLst>
        </pc:spChg>
        <pc:spChg chg="add mod">
          <ac:chgData name="Abhishek Kumar Sharma" userId="50056662-f598-4bf6-81b2-5d9d1fc34a6b" providerId="ADAL" clId="{0C88D909-E452-431C-A5AD-B280061453B8}" dt="2025-01-05T17:19:41.320" v="1720" actId="1076"/>
          <ac:spMkLst>
            <pc:docMk/>
            <pc:sldMk cId="2872232264" sldId="4612"/>
            <ac:spMk id="22" creationId="{0D9B4A80-D1B2-FF6A-D737-251B97DF4646}"/>
          </ac:spMkLst>
        </pc:spChg>
        <pc:picChg chg="add mod">
          <ac:chgData name="Abhishek Kumar Sharma" userId="50056662-f598-4bf6-81b2-5d9d1fc34a6b" providerId="ADAL" clId="{0C88D909-E452-431C-A5AD-B280061453B8}" dt="2025-01-05T15:01:25.282" v="222"/>
          <ac:picMkLst>
            <pc:docMk/>
            <pc:sldMk cId="2872232264" sldId="4612"/>
            <ac:picMk id="5" creationId="{ED86D215-8862-FEEB-06CC-770297EB996B}"/>
          </ac:picMkLst>
        </pc:picChg>
        <pc:picChg chg="add mod">
          <ac:chgData name="Abhishek Kumar Sharma" userId="50056662-f598-4bf6-81b2-5d9d1fc34a6b" providerId="ADAL" clId="{0C88D909-E452-431C-A5AD-B280061453B8}" dt="2025-01-05T17:13:07.097" v="1528" actId="14100"/>
          <ac:picMkLst>
            <pc:docMk/>
            <pc:sldMk cId="2872232264" sldId="4612"/>
            <ac:picMk id="9" creationId="{793545FD-BEB7-D2A2-A514-4A3ADCB09E31}"/>
          </ac:picMkLst>
        </pc:picChg>
        <pc:picChg chg="add mod">
          <ac:chgData name="Abhishek Kumar Sharma" userId="50056662-f598-4bf6-81b2-5d9d1fc34a6b" providerId="ADAL" clId="{0C88D909-E452-431C-A5AD-B280061453B8}" dt="2025-01-05T17:11:32.613" v="1511" actId="1076"/>
          <ac:picMkLst>
            <pc:docMk/>
            <pc:sldMk cId="2872232264" sldId="4612"/>
            <ac:picMk id="11" creationId="{C35700C1-A769-F923-3DED-61363B4C8EB6}"/>
          </ac:picMkLst>
        </pc:picChg>
        <pc:picChg chg="add mod modCrop">
          <ac:chgData name="Abhishek Kumar Sharma" userId="50056662-f598-4bf6-81b2-5d9d1fc34a6b" providerId="ADAL" clId="{0C88D909-E452-431C-A5AD-B280061453B8}" dt="2025-01-05T17:11:41.135" v="1514" actId="1076"/>
          <ac:picMkLst>
            <pc:docMk/>
            <pc:sldMk cId="2872232264" sldId="4612"/>
            <ac:picMk id="13" creationId="{3C75B1E4-882F-5C90-2712-A0AC2AF4EA7B}"/>
          </ac:picMkLst>
        </pc:picChg>
        <pc:picChg chg="add mod">
          <ac:chgData name="Abhishek Kumar Sharma" userId="50056662-f598-4bf6-81b2-5d9d1fc34a6b" providerId="ADAL" clId="{0C88D909-E452-431C-A5AD-B280061453B8}" dt="2025-01-05T17:13:15.699" v="1529" actId="14100"/>
          <ac:picMkLst>
            <pc:docMk/>
            <pc:sldMk cId="2872232264" sldId="4612"/>
            <ac:picMk id="15" creationId="{5D7322B0-93C7-B46C-C68B-993560CDF6BB}"/>
          </ac:picMkLst>
        </pc:picChg>
        <pc:cxnChg chg="add mod">
          <ac:chgData name="Abhishek Kumar Sharma" userId="50056662-f598-4bf6-81b2-5d9d1fc34a6b" providerId="ADAL" clId="{0C88D909-E452-431C-A5AD-B280061453B8}" dt="2025-01-05T17:19:05.007" v="1708" actId="14100"/>
          <ac:cxnSpMkLst>
            <pc:docMk/>
            <pc:sldMk cId="2872232264" sldId="4612"/>
            <ac:cxnSpMk id="24" creationId="{4F244EBA-2DF0-1D1B-7B63-EC32D1B6B5E3}"/>
          </ac:cxnSpMkLst>
        </pc:cxnChg>
        <pc:cxnChg chg="add mod">
          <ac:chgData name="Abhishek Kumar Sharma" userId="50056662-f598-4bf6-81b2-5d9d1fc34a6b" providerId="ADAL" clId="{0C88D909-E452-431C-A5AD-B280061453B8}" dt="2025-01-05T17:19:31.185" v="1717" actId="14100"/>
          <ac:cxnSpMkLst>
            <pc:docMk/>
            <pc:sldMk cId="2872232264" sldId="4612"/>
            <ac:cxnSpMk id="27" creationId="{0D1A2325-4D19-1D6B-A5B2-2FF246EF1881}"/>
          </ac:cxnSpMkLst>
        </pc:cxnChg>
        <pc:cxnChg chg="add mod">
          <ac:chgData name="Abhishek Kumar Sharma" userId="50056662-f598-4bf6-81b2-5d9d1fc34a6b" providerId="ADAL" clId="{0C88D909-E452-431C-A5AD-B280061453B8}" dt="2025-01-05T17:19:58.270" v="1727" actId="14100"/>
          <ac:cxnSpMkLst>
            <pc:docMk/>
            <pc:sldMk cId="2872232264" sldId="4612"/>
            <ac:cxnSpMk id="30" creationId="{A1A1235C-220B-9F7E-0026-73173707E854}"/>
          </ac:cxnSpMkLst>
        </pc:cxnChg>
        <pc:cxnChg chg="add mod">
          <ac:chgData name="Abhishek Kumar Sharma" userId="50056662-f598-4bf6-81b2-5d9d1fc34a6b" providerId="ADAL" clId="{0C88D909-E452-431C-A5AD-B280061453B8}" dt="2025-01-05T17:19:51.419" v="1725" actId="14100"/>
          <ac:cxnSpMkLst>
            <pc:docMk/>
            <pc:sldMk cId="2872232264" sldId="4612"/>
            <ac:cxnSpMk id="31" creationId="{E27CB125-AD6A-F024-6235-6D3013785344}"/>
          </ac:cxnSpMkLst>
        </pc:cxnChg>
      </pc:sldChg>
      <pc:sldChg chg="addSp modSp new del">
        <pc:chgData name="Abhishek Kumar Sharma" userId="50056662-f598-4bf6-81b2-5d9d1fc34a6b" providerId="ADAL" clId="{0C88D909-E452-431C-A5AD-B280061453B8}" dt="2025-01-05T17:24:29.589" v="1783" actId="2696"/>
        <pc:sldMkLst>
          <pc:docMk/>
          <pc:sldMk cId="367829351" sldId="4613"/>
        </pc:sldMkLst>
        <pc:spChg chg="add mod">
          <ac:chgData name="Abhishek Kumar Sharma" userId="50056662-f598-4bf6-81b2-5d9d1fc34a6b" providerId="ADAL" clId="{0C88D909-E452-431C-A5AD-B280061453B8}" dt="2025-01-05T15:01:22.674" v="221"/>
          <ac:spMkLst>
            <pc:docMk/>
            <pc:sldMk cId="367829351" sldId="4613"/>
            <ac:spMk id="3" creationId="{0C662C81-4FCB-B526-BAAE-6A60DC218E01}"/>
          </ac:spMkLst>
        </pc:spChg>
        <pc:spChg chg="add mod">
          <ac:chgData name="Abhishek Kumar Sharma" userId="50056662-f598-4bf6-81b2-5d9d1fc34a6b" providerId="ADAL" clId="{0C88D909-E452-431C-A5AD-B280061453B8}" dt="2025-01-05T15:01:22.674" v="221"/>
          <ac:spMkLst>
            <pc:docMk/>
            <pc:sldMk cId="367829351" sldId="4613"/>
            <ac:spMk id="4" creationId="{B9DA9254-265C-AF6E-8969-2E36A2A7E71D}"/>
          </ac:spMkLst>
        </pc:spChg>
        <pc:picChg chg="add mod">
          <ac:chgData name="Abhishek Kumar Sharma" userId="50056662-f598-4bf6-81b2-5d9d1fc34a6b" providerId="ADAL" clId="{0C88D909-E452-431C-A5AD-B280061453B8}" dt="2025-01-05T15:01:22.674" v="221"/>
          <ac:picMkLst>
            <pc:docMk/>
            <pc:sldMk cId="367829351" sldId="4613"/>
            <ac:picMk id="5" creationId="{5C76037F-D5D6-46E9-E120-1E243FF176B0}"/>
          </ac:picMkLst>
        </pc:picChg>
      </pc:sldChg>
      <pc:sldChg chg="addSp modSp new del">
        <pc:chgData name="Abhishek Kumar Sharma" userId="50056662-f598-4bf6-81b2-5d9d1fc34a6b" providerId="ADAL" clId="{0C88D909-E452-431C-A5AD-B280061453B8}" dt="2025-01-05T17:37:13.021" v="1967" actId="47"/>
        <pc:sldMkLst>
          <pc:docMk/>
          <pc:sldMk cId="3407147593" sldId="4614"/>
        </pc:sldMkLst>
        <pc:spChg chg="add mod">
          <ac:chgData name="Abhishek Kumar Sharma" userId="50056662-f598-4bf6-81b2-5d9d1fc34a6b" providerId="ADAL" clId="{0C88D909-E452-431C-A5AD-B280061453B8}" dt="2025-01-05T15:01:20.208" v="220"/>
          <ac:spMkLst>
            <pc:docMk/>
            <pc:sldMk cId="3407147593" sldId="4614"/>
            <ac:spMk id="3" creationId="{032A034E-C49E-6D71-3328-8A24F3A29B94}"/>
          </ac:spMkLst>
        </pc:spChg>
        <pc:spChg chg="add mod">
          <ac:chgData name="Abhishek Kumar Sharma" userId="50056662-f598-4bf6-81b2-5d9d1fc34a6b" providerId="ADAL" clId="{0C88D909-E452-431C-A5AD-B280061453B8}" dt="2025-01-05T15:01:20.208" v="220"/>
          <ac:spMkLst>
            <pc:docMk/>
            <pc:sldMk cId="3407147593" sldId="4614"/>
            <ac:spMk id="4" creationId="{FA870BAB-542F-6BC2-D52D-87CF27A185BC}"/>
          </ac:spMkLst>
        </pc:spChg>
        <pc:picChg chg="add mod">
          <ac:chgData name="Abhishek Kumar Sharma" userId="50056662-f598-4bf6-81b2-5d9d1fc34a6b" providerId="ADAL" clId="{0C88D909-E452-431C-A5AD-B280061453B8}" dt="2025-01-05T15:01:20.208" v="220"/>
          <ac:picMkLst>
            <pc:docMk/>
            <pc:sldMk cId="3407147593" sldId="4614"/>
            <ac:picMk id="5" creationId="{55ADCAD0-CC75-4D88-813A-220F0DBBD7C2}"/>
          </ac:picMkLst>
        </pc:picChg>
      </pc:sldChg>
      <pc:sldChg chg="addSp delSp modSp new mod">
        <pc:chgData name="Abhishek Kumar Sharma" userId="50056662-f598-4bf6-81b2-5d9d1fc34a6b" providerId="ADAL" clId="{0C88D909-E452-431C-A5AD-B280061453B8}" dt="2025-01-05T15:01:17.006" v="219"/>
        <pc:sldMkLst>
          <pc:docMk/>
          <pc:sldMk cId="2334516976" sldId="4615"/>
        </pc:sldMkLst>
        <pc:spChg chg="del">
          <ac:chgData name="Abhishek Kumar Sharma" userId="50056662-f598-4bf6-81b2-5d9d1fc34a6b" providerId="ADAL" clId="{0C88D909-E452-431C-A5AD-B280061453B8}" dt="2025-01-05T15:00:03.384" v="186" actId="478"/>
          <ac:spMkLst>
            <pc:docMk/>
            <pc:sldMk cId="2334516976" sldId="4615"/>
            <ac:spMk id="2" creationId="{F9B85205-DB7C-6D02-0358-82235005CD59}"/>
          </ac:spMkLst>
        </pc:spChg>
        <pc:spChg chg="add del mod">
          <ac:chgData name="Abhishek Kumar Sharma" userId="50056662-f598-4bf6-81b2-5d9d1fc34a6b" providerId="ADAL" clId="{0C88D909-E452-431C-A5AD-B280061453B8}" dt="2025-01-05T15:00:50.755" v="216" actId="1076"/>
          <ac:spMkLst>
            <pc:docMk/>
            <pc:sldMk cId="2334516976" sldId="4615"/>
            <ac:spMk id="3" creationId="{8889A8BC-1A84-3FB4-A013-B005F46303E5}"/>
          </ac:spMkLst>
        </pc:spChg>
        <pc:spChg chg="add mod">
          <ac:chgData name="Abhishek Kumar Sharma" userId="50056662-f598-4bf6-81b2-5d9d1fc34a6b" providerId="ADAL" clId="{0C88D909-E452-431C-A5AD-B280061453B8}" dt="2025-01-05T15:01:07.032" v="218" actId="1076"/>
          <ac:spMkLst>
            <pc:docMk/>
            <pc:sldMk cId="2334516976" sldId="4615"/>
            <ac:spMk id="4" creationId="{69BC178B-F25C-5306-C6AC-F0FAC9286A2F}"/>
          </ac:spMkLst>
        </pc:spChg>
        <pc:spChg chg="add mod">
          <ac:chgData name="Abhishek Kumar Sharma" userId="50056662-f598-4bf6-81b2-5d9d1fc34a6b" providerId="ADAL" clId="{0C88D909-E452-431C-A5AD-B280061453B8}" dt="2025-01-05T15:01:17.006" v="219"/>
          <ac:spMkLst>
            <pc:docMk/>
            <pc:sldMk cId="2334516976" sldId="4615"/>
            <ac:spMk id="5" creationId="{02F95209-C89C-70FD-506D-7C06A536D079}"/>
          </ac:spMkLst>
        </pc:spChg>
        <pc:spChg chg="add mod">
          <ac:chgData name="Abhishek Kumar Sharma" userId="50056662-f598-4bf6-81b2-5d9d1fc34a6b" providerId="ADAL" clId="{0C88D909-E452-431C-A5AD-B280061453B8}" dt="2025-01-05T15:01:17.006" v="219"/>
          <ac:spMkLst>
            <pc:docMk/>
            <pc:sldMk cId="2334516976" sldId="4615"/>
            <ac:spMk id="6" creationId="{E250B0CD-B633-850B-F2FB-79569313F699}"/>
          </ac:spMkLst>
        </pc:spChg>
        <pc:picChg chg="add mod">
          <ac:chgData name="Abhishek Kumar Sharma" userId="50056662-f598-4bf6-81b2-5d9d1fc34a6b" providerId="ADAL" clId="{0C88D909-E452-431C-A5AD-B280061453B8}" dt="2025-01-05T15:01:17.006" v="219"/>
          <ac:picMkLst>
            <pc:docMk/>
            <pc:sldMk cId="2334516976" sldId="4615"/>
            <ac:picMk id="7" creationId="{7206B97B-58DC-C7A9-58E9-050CFE0A09C2}"/>
          </ac:picMkLst>
        </pc:picChg>
      </pc:sldChg>
      <pc:sldChg chg="addSp delSp modSp add mod">
        <pc:chgData name="Abhishek Kumar Sharma" userId="50056662-f598-4bf6-81b2-5d9d1fc34a6b" providerId="ADAL" clId="{0C88D909-E452-431C-A5AD-B280061453B8}" dt="2025-01-05T17:35:18.301" v="1937" actId="207"/>
        <pc:sldMkLst>
          <pc:docMk/>
          <pc:sldMk cId="1265424797" sldId="4616"/>
        </pc:sldMkLst>
        <pc:spChg chg="mod">
          <ac:chgData name="Abhishek Kumar Sharma" userId="50056662-f598-4bf6-81b2-5d9d1fc34a6b" providerId="ADAL" clId="{0C88D909-E452-431C-A5AD-B280061453B8}" dt="2025-01-05T17:20:21.509" v="1734" actId="20577"/>
          <ac:spMkLst>
            <pc:docMk/>
            <pc:sldMk cId="1265424797" sldId="4616"/>
            <ac:spMk id="7" creationId="{1F9063D1-794E-956C-B7BF-2F5CFE029368}"/>
          </ac:spMkLst>
        </pc:spChg>
        <pc:spChg chg="mod">
          <ac:chgData name="Abhishek Kumar Sharma" userId="50056662-f598-4bf6-81b2-5d9d1fc34a6b" providerId="ADAL" clId="{0C88D909-E452-431C-A5AD-B280061453B8}" dt="2025-01-05T17:35:18.301" v="1937" actId="207"/>
          <ac:spMkLst>
            <pc:docMk/>
            <pc:sldMk cId="1265424797" sldId="4616"/>
            <ac:spMk id="16" creationId="{2CC5BAE4-3E0E-4CB9-141F-0E1DDDD465B5}"/>
          </ac:spMkLst>
        </pc:spChg>
        <pc:spChg chg="mod">
          <ac:chgData name="Abhishek Kumar Sharma" userId="50056662-f598-4bf6-81b2-5d9d1fc34a6b" providerId="ADAL" clId="{0C88D909-E452-431C-A5AD-B280061453B8}" dt="2025-01-05T17:23:01.326" v="1762" actId="1076"/>
          <ac:spMkLst>
            <pc:docMk/>
            <pc:sldMk cId="1265424797" sldId="4616"/>
            <ac:spMk id="17" creationId="{415B4A59-6A1E-6747-4B22-342834DA2605}"/>
          </ac:spMkLst>
        </pc:spChg>
        <pc:spChg chg="mod">
          <ac:chgData name="Abhishek Kumar Sharma" userId="50056662-f598-4bf6-81b2-5d9d1fc34a6b" providerId="ADAL" clId="{0C88D909-E452-431C-A5AD-B280061453B8}" dt="2025-01-05T17:22:58.029" v="1761" actId="1076"/>
          <ac:spMkLst>
            <pc:docMk/>
            <pc:sldMk cId="1265424797" sldId="4616"/>
            <ac:spMk id="18" creationId="{9C68D64A-730B-7EBE-7DDC-842D500CAE8E}"/>
          </ac:spMkLst>
        </pc:spChg>
        <pc:spChg chg="mod">
          <ac:chgData name="Abhishek Kumar Sharma" userId="50056662-f598-4bf6-81b2-5d9d1fc34a6b" providerId="ADAL" clId="{0C88D909-E452-431C-A5AD-B280061453B8}" dt="2025-01-05T17:23:10.761" v="1763" actId="1076"/>
          <ac:spMkLst>
            <pc:docMk/>
            <pc:sldMk cId="1265424797" sldId="4616"/>
            <ac:spMk id="19" creationId="{536B0C9F-2630-15CC-7594-E28DFF07F802}"/>
          </ac:spMkLst>
        </pc:spChg>
        <pc:spChg chg="mod">
          <ac:chgData name="Abhishek Kumar Sharma" userId="50056662-f598-4bf6-81b2-5d9d1fc34a6b" providerId="ADAL" clId="{0C88D909-E452-431C-A5AD-B280061453B8}" dt="2025-01-05T17:23:19.363" v="1767" actId="1036"/>
          <ac:spMkLst>
            <pc:docMk/>
            <pc:sldMk cId="1265424797" sldId="4616"/>
            <ac:spMk id="20" creationId="{16C46B96-AE16-1737-937D-CC4D72467B2E}"/>
          </ac:spMkLst>
        </pc:spChg>
        <pc:picChg chg="add mod">
          <ac:chgData name="Abhishek Kumar Sharma" userId="50056662-f598-4bf6-81b2-5d9d1fc34a6b" providerId="ADAL" clId="{0C88D909-E452-431C-A5AD-B280061453B8}" dt="2025-01-05T17:22:44.256" v="1756" actId="1440"/>
          <ac:picMkLst>
            <pc:docMk/>
            <pc:sldMk cId="1265424797" sldId="4616"/>
            <ac:picMk id="8" creationId="{AB33BD37-D9F9-AFF2-736C-FA044E5EDCA4}"/>
          </ac:picMkLst>
        </pc:picChg>
        <pc:picChg chg="del">
          <ac:chgData name="Abhishek Kumar Sharma" userId="50056662-f598-4bf6-81b2-5d9d1fc34a6b" providerId="ADAL" clId="{0C88D909-E452-431C-A5AD-B280061453B8}" dt="2025-01-05T17:20:26.313" v="1735" actId="478"/>
          <ac:picMkLst>
            <pc:docMk/>
            <pc:sldMk cId="1265424797" sldId="4616"/>
            <ac:picMk id="9" creationId="{078AC8A8-301C-AFB3-9E3B-B9671960A04A}"/>
          </ac:picMkLst>
        </pc:picChg>
        <pc:picChg chg="del">
          <ac:chgData name="Abhishek Kumar Sharma" userId="50056662-f598-4bf6-81b2-5d9d1fc34a6b" providerId="ADAL" clId="{0C88D909-E452-431C-A5AD-B280061453B8}" dt="2025-01-05T17:20:27.239" v="1736" actId="478"/>
          <ac:picMkLst>
            <pc:docMk/>
            <pc:sldMk cId="1265424797" sldId="4616"/>
            <ac:picMk id="11" creationId="{543D1F8E-2991-88A4-9948-2F4C94A522DF}"/>
          </ac:picMkLst>
        </pc:picChg>
        <pc:picChg chg="add mod">
          <ac:chgData name="Abhishek Kumar Sharma" userId="50056662-f598-4bf6-81b2-5d9d1fc34a6b" providerId="ADAL" clId="{0C88D909-E452-431C-A5AD-B280061453B8}" dt="2025-01-05T17:22:53.226" v="1760" actId="1076"/>
          <ac:picMkLst>
            <pc:docMk/>
            <pc:sldMk cId="1265424797" sldId="4616"/>
            <ac:picMk id="12" creationId="{42D4D949-69DF-F484-4972-268EA88D4C8D}"/>
          </ac:picMkLst>
        </pc:picChg>
        <pc:picChg chg="del">
          <ac:chgData name="Abhishek Kumar Sharma" userId="50056662-f598-4bf6-81b2-5d9d1fc34a6b" providerId="ADAL" clId="{0C88D909-E452-431C-A5AD-B280061453B8}" dt="2025-01-05T17:20:29.075" v="1738" actId="478"/>
          <ac:picMkLst>
            <pc:docMk/>
            <pc:sldMk cId="1265424797" sldId="4616"/>
            <ac:picMk id="13" creationId="{A2A84B22-222F-EEFE-E2DF-820D2F886DAA}"/>
          </ac:picMkLst>
        </pc:picChg>
        <pc:picChg chg="del">
          <ac:chgData name="Abhishek Kumar Sharma" userId="50056662-f598-4bf6-81b2-5d9d1fc34a6b" providerId="ADAL" clId="{0C88D909-E452-431C-A5AD-B280061453B8}" dt="2025-01-05T17:20:28.181" v="1737" actId="478"/>
          <ac:picMkLst>
            <pc:docMk/>
            <pc:sldMk cId="1265424797" sldId="4616"/>
            <ac:picMk id="15" creationId="{46BED597-1AA7-5952-0ABB-CA9C516B5D36}"/>
          </ac:picMkLst>
        </pc:picChg>
        <pc:picChg chg="add mod">
          <ac:chgData name="Abhishek Kumar Sharma" userId="50056662-f598-4bf6-81b2-5d9d1fc34a6b" providerId="ADAL" clId="{0C88D909-E452-431C-A5AD-B280061453B8}" dt="2025-01-05T17:24:02.810" v="1778" actId="1076"/>
          <ac:picMkLst>
            <pc:docMk/>
            <pc:sldMk cId="1265424797" sldId="4616"/>
            <ac:picMk id="23" creationId="{AB0F4E6A-67BF-335B-7280-5DAF1414C6FA}"/>
          </ac:picMkLst>
        </pc:picChg>
        <pc:picChg chg="add mod">
          <ac:chgData name="Abhishek Kumar Sharma" userId="50056662-f598-4bf6-81b2-5d9d1fc34a6b" providerId="ADAL" clId="{0C88D909-E452-431C-A5AD-B280061453B8}" dt="2025-01-05T17:23:36.173" v="1772" actId="14100"/>
          <ac:picMkLst>
            <pc:docMk/>
            <pc:sldMk cId="1265424797" sldId="4616"/>
            <ac:picMk id="26" creationId="{B928A223-E270-0B0E-BC62-CAB7A227E555}"/>
          </ac:picMkLst>
        </pc:picChg>
        <pc:cxnChg chg="mod">
          <ac:chgData name="Abhishek Kumar Sharma" userId="50056662-f598-4bf6-81b2-5d9d1fc34a6b" providerId="ADAL" clId="{0C88D909-E452-431C-A5AD-B280061453B8}" dt="2025-01-05T17:22:58.029" v="1761" actId="1076"/>
          <ac:cxnSpMkLst>
            <pc:docMk/>
            <pc:sldMk cId="1265424797" sldId="4616"/>
            <ac:cxnSpMk id="24" creationId="{6C8003B7-85EC-E434-99A5-BB074845DB03}"/>
          </ac:cxnSpMkLst>
        </pc:cxnChg>
        <pc:cxnChg chg="mod">
          <ac:chgData name="Abhishek Kumar Sharma" userId="50056662-f598-4bf6-81b2-5d9d1fc34a6b" providerId="ADAL" clId="{0C88D909-E452-431C-A5AD-B280061453B8}" dt="2025-01-05T17:23:26.019" v="1769" actId="14100"/>
          <ac:cxnSpMkLst>
            <pc:docMk/>
            <pc:sldMk cId="1265424797" sldId="4616"/>
            <ac:cxnSpMk id="27" creationId="{395F1769-3AE5-CF9B-6548-A17FAAB8061D}"/>
          </ac:cxnSpMkLst>
        </pc:cxnChg>
        <pc:cxnChg chg="mod">
          <ac:chgData name="Abhishek Kumar Sharma" userId="50056662-f598-4bf6-81b2-5d9d1fc34a6b" providerId="ADAL" clId="{0C88D909-E452-431C-A5AD-B280061453B8}" dt="2025-01-05T17:23:40.853" v="1773" actId="14100"/>
          <ac:cxnSpMkLst>
            <pc:docMk/>
            <pc:sldMk cId="1265424797" sldId="4616"/>
            <ac:cxnSpMk id="30" creationId="{2C67754E-AA06-566F-0E4D-5EC83C5BBD26}"/>
          </ac:cxnSpMkLst>
        </pc:cxnChg>
        <pc:cxnChg chg="mod">
          <ac:chgData name="Abhishek Kumar Sharma" userId="50056662-f598-4bf6-81b2-5d9d1fc34a6b" providerId="ADAL" clId="{0C88D909-E452-431C-A5AD-B280061453B8}" dt="2025-01-05T17:24:06.155" v="1779" actId="14100"/>
          <ac:cxnSpMkLst>
            <pc:docMk/>
            <pc:sldMk cId="1265424797" sldId="4616"/>
            <ac:cxnSpMk id="31" creationId="{F307BA5E-099F-8D2A-70C1-D91409EDFCD3}"/>
          </ac:cxnSpMkLst>
        </pc:cxnChg>
      </pc:sldChg>
      <pc:sldChg chg="addSp delSp modSp add mod">
        <pc:chgData name="Abhishek Kumar Sharma" userId="50056662-f598-4bf6-81b2-5d9d1fc34a6b" providerId="ADAL" clId="{0C88D909-E452-431C-A5AD-B280061453B8}" dt="2025-01-05T17:35:27.059" v="1938" actId="207"/>
        <pc:sldMkLst>
          <pc:docMk/>
          <pc:sldMk cId="1668858683" sldId="4617"/>
        </pc:sldMkLst>
        <pc:spChg chg="mod">
          <ac:chgData name="Abhishek Kumar Sharma" userId="50056662-f598-4bf6-81b2-5d9d1fc34a6b" providerId="ADAL" clId="{0C88D909-E452-431C-A5AD-B280061453B8}" dt="2025-01-05T17:24:24.959" v="1782" actId="20577"/>
          <ac:spMkLst>
            <pc:docMk/>
            <pc:sldMk cId="1668858683" sldId="4617"/>
            <ac:spMk id="7" creationId="{B17B6D74-AD2D-1084-D6B7-5E462993C4DE}"/>
          </ac:spMkLst>
        </pc:spChg>
        <pc:spChg chg="mod">
          <ac:chgData name="Abhishek Kumar Sharma" userId="50056662-f598-4bf6-81b2-5d9d1fc34a6b" providerId="ADAL" clId="{0C88D909-E452-431C-A5AD-B280061453B8}" dt="2025-01-05T17:35:27.059" v="1938" actId="207"/>
          <ac:spMkLst>
            <pc:docMk/>
            <pc:sldMk cId="1668858683" sldId="4617"/>
            <ac:spMk id="16" creationId="{312F5972-9741-7950-913E-EBE535B033C8}"/>
          </ac:spMkLst>
        </pc:spChg>
        <pc:spChg chg="mod">
          <ac:chgData name="Abhishek Kumar Sharma" userId="50056662-f598-4bf6-81b2-5d9d1fc34a6b" providerId="ADAL" clId="{0C88D909-E452-431C-A5AD-B280061453B8}" dt="2025-01-05T17:26:34.253" v="1807" actId="1076"/>
          <ac:spMkLst>
            <pc:docMk/>
            <pc:sldMk cId="1668858683" sldId="4617"/>
            <ac:spMk id="17" creationId="{B22B942A-405F-C335-875C-7C70284FAE45}"/>
          </ac:spMkLst>
        </pc:spChg>
        <pc:spChg chg="mod">
          <ac:chgData name="Abhishek Kumar Sharma" userId="50056662-f598-4bf6-81b2-5d9d1fc34a6b" providerId="ADAL" clId="{0C88D909-E452-431C-A5AD-B280061453B8}" dt="2025-01-05T17:26:39.576" v="1809" actId="1035"/>
          <ac:spMkLst>
            <pc:docMk/>
            <pc:sldMk cId="1668858683" sldId="4617"/>
            <ac:spMk id="18" creationId="{B7BB12E7-99F1-DB51-E22F-4E3EE280E312}"/>
          </ac:spMkLst>
        </pc:spChg>
        <pc:spChg chg="mod">
          <ac:chgData name="Abhishek Kumar Sharma" userId="50056662-f598-4bf6-81b2-5d9d1fc34a6b" providerId="ADAL" clId="{0C88D909-E452-431C-A5AD-B280061453B8}" dt="2025-01-05T17:28:11.258" v="1834" actId="1076"/>
          <ac:spMkLst>
            <pc:docMk/>
            <pc:sldMk cId="1668858683" sldId="4617"/>
            <ac:spMk id="19" creationId="{84542F0B-67EA-2BFE-844D-CB14412E4CC3}"/>
          </ac:spMkLst>
        </pc:spChg>
        <pc:spChg chg="mod">
          <ac:chgData name="Abhishek Kumar Sharma" userId="50056662-f598-4bf6-81b2-5d9d1fc34a6b" providerId="ADAL" clId="{0C88D909-E452-431C-A5AD-B280061453B8}" dt="2025-01-05T17:28:14.287" v="1836" actId="1035"/>
          <ac:spMkLst>
            <pc:docMk/>
            <pc:sldMk cId="1668858683" sldId="4617"/>
            <ac:spMk id="20" creationId="{43C389CD-5F18-8DE0-43BE-95E6457C4609}"/>
          </ac:spMkLst>
        </pc:spChg>
        <pc:spChg chg="mod">
          <ac:chgData name="Abhishek Kumar Sharma" userId="50056662-f598-4bf6-81b2-5d9d1fc34a6b" providerId="ADAL" clId="{0C88D909-E452-431C-A5AD-B280061453B8}" dt="2025-01-05T17:28:36.629" v="1841" actId="1076"/>
          <ac:spMkLst>
            <pc:docMk/>
            <pc:sldMk cId="1668858683" sldId="4617"/>
            <ac:spMk id="21" creationId="{C87A28E5-B31B-8718-0E6E-57EEB143C701}"/>
          </ac:spMkLst>
        </pc:spChg>
        <pc:spChg chg="mod">
          <ac:chgData name="Abhishek Kumar Sharma" userId="50056662-f598-4bf6-81b2-5d9d1fc34a6b" providerId="ADAL" clId="{0C88D909-E452-431C-A5AD-B280061453B8}" dt="2025-01-05T17:28:40.490" v="1842" actId="1076"/>
          <ac:spMkLst>
            <pc:docMk/>
            <pc:sldMk cId="1668858683" sldId="4617"/>
            <ac:spMk id="22" creationId="{3BFB04FF-99E1-FEC9-E952-228AFE5CA9F1}"/>
          </ac:spMkLst>
        </pc:spChg>
        <pc:picChg chg="del">
          <ac:chgData name="Abhishek Kumar Sharma" userId="50056662-f598-4bf6-81b2-5d9d1fc34a6b" providerId="ADAL" clId="{0C88D909-E452-431C-A5AD-B280061453B8}" dt="2025-01-05T17:24:56.296" v="1784" actId="478"/>
          <ac:picMkLst>
            <pc:docMk/>
            <pc:sldMk cId="1668858683" sldId="4617"/>
            <ac:picMk id="8" creationId="{F950FC99-45CA-7163-CDF9-636D2E44B5B4}"/>
          </ac:picMkLst>
        </pc:picChg>
        <pc:picChg chg="add mod">
          <ac:chgData name="Abhishek Kumar Sharma" userId="50056662-f598-4bf6-81b2-5d9d1fc34a6b" providerId="ADAL" clId="{0C88D909-E452-431C-A5AD-B280061453B8}" dt="2025-01-05T17:26:26.489" v="1805" actId="1076"/>
          <ac:picMkLst>
            <pc:docMk/>
            <pc:sldMk cId="1668858683" sldId="4617"/>
            <ac:picMk id="9" creationId="{F2C767DB-0E9D-AD6D-1E44-7FCBE45CBC7E}"/>
          </ac:picMkLst>
        </pc:picChg>
        <pc:picChg chg="add mod">
          <ac:chgData name="Abhishek Kumar Sharma" userId="50056662-f598-4bf6-81b2-5d9d1fc34a6b" providerId="ADAL" clId="{0C88D909-E452-431C-A5AD-B280061453B8}" dt="2025-01-05T17:28:02.498" v="1832" actId="1076"/>
          <ac:picMkLst>
            <pc:docMk/>
            <pc:sldMk cId="1668858683" sldId="4617"/>
            <ac:picMk id="11" creationId="{9E2E9497-D5E6-D440-A946-86B24EF18AB2}"/>
          </ac:picMkLst>
        </pc:picChg>
        <pc:picChg chg="del">
          <ac:chgData name="Abhishek Kumar Sharma" userId="50056662-f598-4bf6-81b2-5d9d1fc34a6b" providerId="ADAL" clId="{0C88D909-E452-431C-A5AD-B280061453B8}" dt="2025-01-05T17:24:56.875" v="1785" actId="478"/>
          <ac:picMkLst>
            <pc:docMk/>
            <pc:sldMk cId="1668858683" sldId="4617"/>
            <ac:picMk id="12" creationId="{2B8458DC-5F64-14AB-5678-D4656DD0C5D1}"/>
          </ac:picMkLst>
        </pc:picChg>
        <pc:picChg chg="add mod">
          <ac:chgData name="Abhishek Kumar Sharma" userId="50056662-f598-4bf6-81b2-5d9d1fc34a6b" providerId="ADAL" clId="{0C88D909-E452-431C-A5AD-B280061453B8}" dt="2025-01-05T17:27:20.075" v="1821" actId="1076"/>
          <ac:picMkLst>
            <pc:docMk/>
            <pc:sldMk cId="1668858683" sldId="4617"/>
            <ac:picMk id="14" creationId="{C8024E28-06B6-0CFD-CDF9-1179FF4C1296}"/>
          </ac:picMkLst>
        </pc:picChg>
        <pc:picChg chg="del">
          <ac:chgData name="Abhishek Kumar Sharma" userId="50056662-f598-4bf6-81b2-5d9d1fc34a6b" providerId="ADAL" clId="{0C88D909-E452-431C-A5AD-B280061453B8}" dt="2025-01-05T17:24:57.721" v="1786" actId="478"/>
          <ac:picMkLst>
            <pc:docMk/>
            <pc:sldMk cId="1668858683" sldId="4617"/>
            <ac:picMk id="23" creationId="{D49E9E57-3213-FC6F-5E05-87456DFEF5EB}"/>
          </ac:picMkLst>
        </pc:picChg>
        <pc:picChg chg="add mod">
          <ac:chgData name="Abhishek Kumar Sharma" userId="50056662-f598-4bf6-81b2-5d9d1fc34a6b" providerId="ADAL" clId="{0C88D909-E452-431C-A5AD-B280061453B8}" dt="2025-01-05T17:27:50.381" v="1830" actId="14100"/>
          <ac:picMkLst>
            <pc:docMk/>
            <pc:sldMk cId="1668858683" sldId="4617"/>
            <ac:picMk id="25" creationId="{0ADD1B35-529D-1743-7C80-109F6CC87061}"/>
          </ac:picMkLst>
        </pc:picChg>
        <pc:picChg chg="del">
          <ac:chgData name="Abhishek Kumar Sharma" userId="50056662-f598-4bf6-81b2-5d9d1fc34a6b" providerId="ADAL" clId="{0C88D909-E452-431C-A5AD-B280061453B8}" dt="2025-01-05T17:24:58.758" v="1787" actId="478"/>
          <ac:picMkLst>
            <pc:docMk/>
            <pc:sldMk cId="1668858683" sldId="4617"/>
            <ac:picMk id="26" creationId="{FB1FCCE0-85DE-8044-2E37-CDDA89F628AD}"/>
          </ac:picMkLst>
        </pc:picChg>
        <pc:cxnChg chg="mod">
          <ac:chgData name="Abhishek Kumar Sharma" userId="50056662-f598-4bf6-81b2-5d9d1fc34a6b" providerId="ADAL" clId="{0C88D909-E452-431C-A5AD-B280061453B8}" dt="2025-01-05T17:26:30.328" v="1806" actId="1076"/>
          <ac:cxnSpMkLst>
            <pc:docMk/>
            <pc:sldMk cId="1668858683" sldId="4617"/>
            <ac:cxnSpMk id="24" creationId="{F87A9EA7-6197-E043-089F-7781D69B5DAE}"/>
          </ac:cxnSpMkLst>
        </pc:cxnChg>
        <pc:cxnChg chg="mod">
          <ac:chgData name="Abhishek Kumar Sharma" userId="50056662-f598-4bf6-81b2-5d9d1fc34a6b" providerId="ADAL" clId="{0C88D909-E452-431C-A5AD-B280061453B8}" dt="2025-01-05T17:28:26.711" v="1839" actId="14100"/>
          <ac:cxnSpMkLst>
            <pc:docMk/>
            <pc:sldMk cId="1668858683" sldId="4617"/>
            <ac:cxnSpMk id="27" creationId="{E1A28E96-1C7A-D364-29BA-917781661E13}"/>
          </ac:cxnSpMkLst>
        </pc:cxnChg>
        <pc:cxnChg chg="mod">
          <ac:chgData name="Abhishek Kumar Sharma" userId="50056662-f598-4bf6-81b2-5d9d1fc34a6b" providerId="ADAL" clId="{0C88D909-E452-431C-A5AD-B280061453B8}" dt="2025-01-05T17:28:53.355" v="1845" actId="14100"/>
          <ac:cxnSpMkLst>
            <pc:docMk/>
            <pc:sldMk cId="1668858683" sldId="4617"/>
            <ac:cxnSpMk id="30" creationId="{DB11AF6E-78AE-89A1-CBA3-CB2F524B85E4}"/>
          </ac:cxnSpMkLst>
        </pc:cxnChg>
        <pc:cxnChg chg="mod">
          <ac:chgData name="Abhishek Kumar Sharma" userId="50056662-f598-4bf6-81b2-5d9d1fc34a6b" providerId="ADAL" clId="{0C88D909-E452-431C-A5AD-B280061453B8}" dt="2025-01-05T17:28:45.844" v="1843" actId="14100"/>
          <ac:cxnSpMkLst>
            <pc:docMk/>
            <pc:sldMk cId="1668858683" sldId="4617"/>
            <ac:cxnSpMk id="31" creationId="{575715FF-E7F7-C50F-B2A8-C4B4F612243A}"/>
          </ac:cxnSpMkLst>
        </pc:cxnChg>
      </pc:sldChg>
      <pc:sldChg chg="addSp delSp modSp add mod">
        <pc:chgData name="Abhishek Kumar Sharma" userId="50056662-f598-4bf6-81b2-5d9d1fc34a6b" providerId="ADAL" clId="{0C88D909-E452-431C-A5AD-B280061453B8}" dt="2025-01-06T04:27:17.624" v="2274" actId="1036"/>
        <pc:sldMkLst>
          <pc:docMk/>
          <pc:sldMk cId="3468805561" sldId="4618"/>
        </pc:sldMkLst>
        <pc:spChg chg="mod">
          <ac:chgData name="Abhishek Kumar Sharma" userId="50056662-f598-4bf6-81b2-5d9d1fc34a6b" providerId="ADAL" clId="{0C88D909-E452-431C-A5AD-B280061453B8}" dt="2025-01-05T17:34:48.839" v="1936" actId="20577"/>
          <ac:spMkLst>
            <pc:docMk/>
            <pc:sldMk cId="3468805561" sldId="4618"/>
            <ac:spMk id="7" creationId="{CEE970A1-2B2F-21D2-817A-A181E899CADC}"/>
          </ac:spMkLst>
        </pc:spChg>
        <pc:spChg chg="mod">
          <ac:chgData name="Abhishek Kumar Sharma" userId="50056662-f598-4bf6-81b2-5d9d1fc34a6b" providerId="ADAL" clId="{0C88D909-E452-431C-A5AD-B280061453B8}" dt="2025-01-05T17:34:18.066" v="1929" actId="1076"/>
          <ac:spMkLst>
            <pc:docMk/>
            <pc:sldMk cId="3468805561" sldId="4618"/>
            <ac:spMk id="16" creationId="{ED9FDF8E-6ED2-7C05-377B-D91EE2480707}"/>
          </ac:spMkLst>
        </pc:spChg>
        <pc:spChg chg="mod">
          <ac:chgData name="Abhishek Kumar Sharma" userId="50056662-f598-4bf6-81b2-5d9d1fc34a6b" providerId="ADAL" clId="{0C88D909-E452-431C-A5AD-B280061453B8}" dt="2025-01-05T17:33:05.365" v="1908" actId="1076"/>
          <ac:spMkLst>
            <pc:docMk/>
            <pc:sldMk cId="3468805561" sldId="4618"/>
            <ac:spMk id="17" creationId="{AD7DA3A0-5034-17F8-45B9-6E722492880D}"/>
          </ac:spMkLst>
        </pc:spChg>
        <pc:spChg chg="mod">
          <ac:chgData name="Abhishek Kumar Sharma" userId="50056662-f598-4bf6-81b2-5d9d1fc34a6b" providerId="ADAL" clId="{0C88D909-E452-431C-A5AD-B280061453B8}" dt="2025-01-06T04:27:17.624" v="2274" actId="1036"/>
          <ac:spMkLst>
            <pc:docMk/>
            <pc:sldMk cId="3468805561" sldId="4618"/>
            <ac:spMk id="18" creationId="{ACEAAC4B-3F46-6170-63B8-A18F6BAC89EC}"/>
          </ac:spMkLst>
        </pc:spChg>
        <pc:spChg chg="mod">
          <ac:chgData name="Abhishek Kumar Sharma" userId="50056662-f598-4bf6-81b2-5d9d1fc34a6b" providerId="ADAL" clId="{0C88D909-E452-431C-A5AD-B280061453B8}" dt="2025-01-05T17:36:41.760" v="1961" actId="1076"/>
          <ac:spMkLst>
            <pc:docMk/>
            <pc:sldMk cId="3468805561" sldId="4618"/>
            <ac:spMk id="19" creationId="{33FD3DA0-C57D-1131-7BC2-1E3384624A76}"/>
          </ac:spMkLst>
        </pc:spChg>
        <pc:spChg chg="mod">
          <ac:chgData name="Abhishek Kumar Sharma" userId="50056662-f598-4bf6-81b2-5d9d1fc34a6b" providerId="ADAL" clId="{0C88D909-E452-431C-A5AD-B280061453B8}" dt="2025-01-05T17:36:48.932" v="1963" actId="1076"/>
          <ac:spMkLst>
            <pc:docMk/>
            <pc:sldMk cId="3468805561" sldId="4618"/>
            <ac:spMk id="20" creationId="{F96E4665-6E0A-F7C5-0FB6-95F6019E904E}"/>
          </ac:spMkLst>
        </pc:spChg>
        <pc:spChg chg="mod">
          <ac:chgData name="Abhishek Kumar Sharma" userId="50056662-f598-4bf6-81b2-5d9d1fc34a6b" providerId="ADAL" clId="{0C88D909-E452-431C-A5AD-B280061453B8}" dt="2025-01-05T17:36:18.251" v="1955" actId="1076"/>
          <ac:spMkLst>
            <pc:docMk/>
            <pc:sldMk cId="3468805561" sldId="4618"/>
            <ac:spMk id="21" creationId="{5F66EA51-8CC6-1AE7-A10A-928279A80EF9}"/>
          </ac:spMkLst>
        </pc:spChg>
        <pc:spChg chg="mod">
          <ac:chgData name="Abhishek Kumar Sharma" userId="50056662-f598-4bf6-81b2-5d9d1fc34a6b" providerId="ADAL" clId="{0C88D909-E452-431C-A5AD-B280061453B8}" dt="2025-01-05T17:36:33.067" v="1959" actId="1076"/>
          <ac:spMkLst>
            <pc:docMk/>
            <pc:sldMk cId="3468805561" sldId="4618"/>
            <ac:spMk id="22" creationId="{B08050AD-D70E-B714-9754-2B44BAE5AD50}"/>
          </ac:spMkLst>
        </pc:spChg>
        <pc:picChg chg="add mod">
          <ac:chgData name="Abhishek Kumar Sharma" userId="50056662-f598-4bf6-81b2-5d9d1fc34a6b" providerId="ADAL" clId="{0C88D909-E452-431C-A5AD-B280061453B8}" dt="2025-01-05T17:31:39.397" v="1880" actId="1076"/>
          <ac:picMkLst>
            <pc:docMk/>
            <pc:sldMk cId="3468805561" sldId="4618"/>
            <ac:picMk id="8" creationId="{CA7A4509-0E9A-0B16-D747-645D604BED20}"/>
          </ac:picMkLst>
        </pc:picChg>
        <pc:picChg chg="del">
          <ac:chgData name="Abhishek Kumar Sharma" userId="50056662-f598-4bf6-81b2-5d9d1fc34a6b" providerId="ADAL" clId="{0C88D909-E452-431C-A5AD-B280061453B8}" dt="2025-01-05T17:29:27.732" v="1847" actId="478"/>
          <ac:picMkLst>
            <pc:docMk/>
            <pc:sldMk cId="3468805561" sldId="4618"/>
            <ac:picMk id="9" creationId="{6B5D30A9-4756-91E9-BCDE-520E62CB73DF}"/>
          </ac:picMkLst>
        </pc:picChg>
        <pc:picChg chg="del">
          <ac:chgData name="Abhishek Kumar Sharma" userId="50056662-f598-4bf6-81b2-5d9d1fc34a6b" providerId="ADAL" clId="{0C88D909-E452-431C-A5AD-B280061453B8}" dt="2025-01-05T17:29:28.408" v="1848" actId="478"/>
          <ac:picMkLst>
            <pc:docMk/>
            <pc:sldMk cId="3468805561" sldId="4618"/>
            <ac:picMk id="11" creationId="{401C773D-0537-2225-9140-586DED4CA9E6}"/>
          </ac:picMkLst>
        </pc:picChg>
        <pc:picChg chg="add mod">
          <ac:chgData name="Abhishek Kumar Sharma" userId="50056662-f598-4bf6-81b2-5d9d1fc34a6b" providerId="ADAL" clId="{0C88D909-E452-431C-A5AD-B280061453B8}" dt="2025-01-05T17:31:44.217" v="1882" actId="14100"/>
          <ac:picMkLst>
            <pc:docMk/>
            <pc:sldMk cId="3468805561" sldId="4618"/>
            <ac:picMk id="12" creationId="{7113221D-CD5D-EC3F-CEF2-1578001E2FB9}"/>
          </ac:picMkLst>
        </pc:picChg>
        <pc:picChg chg="del">
          <ac:chgData name="Abhishek Kumar Sharma" userId="50056662-f598-4bf6-81b2-5d9d1fc34a6b" providerId="ADAL" clId="{0C88D909-E452-431C-A5AD-B280061453B8}" dt="2025-01-05T17:29:28.895" v="1849" actId="478"/>
          <ac:picMkLst>
            <pc:docMk/>
            <pc:sldMk cId="3468805561" sldId="4618"/>
            <ac:picMk id="14" creationId="{6ADB4E26-E0DE-38E9-605D-17AA32D234B2}"/>
          </ac:picMkLst>
        </pc:picChg>
        <pc:picChg chg="add del">
          <ac:chgData name="Abhishek Kumar Sharma" userId="50056662-f598-4bf6-81b2-5d9d1fc34a6b" providerId="ADAL" clId="{0C88D909-E452-431C-A5AD-B280061453B8}" dt="2025-01-05T17:30:22.874" v="1854" actId="22"/>
          <ac:picMkLst>
            <pc:docMk/>
            <pc:sldMk cId="3468805561" sldId="4618"/>
            <ac:picMk id="15" creationId="{661A7714-457E-5D48-0C15-95224C1A321D}"/>
          </ac:picMkLst>
        </pc:picChg>
        <pc:picChg chg="del">
          <ac:chgData name="Abhishek Kumar Sharma" userId="50056662-f598-4bf6-81b2-5d9d1fc34a6b" providerId="ADAL" clId="{0C88D909-E452-431C-A5AD-B280061453B8}" dt="2025-01-05T17:29:29.852" v="1850" actId="478"/>
          <ac:picMkLst>
            <pc:docMk/>
            <pc:sldMk cId="3468805561" sldId="4618"/>
            <ac:picMk id="25" creationId="{B84473B9-F775-1A2E-27CE-3564BD837A23}"/>
          </ac:picMkLst>
        </pc:picChg>
        <pc:picChg chg="add mod">
          <ac:chgData name="Abhishek Kumar Sharma" userId="50056662-f598-4bf6-81b2-5d9d1fc34a6b" providerId="ADAL" clId="{0C88D909-E452-431C-A5AD-B280061453B8}" dt="2025-01-05T17:31:55.798" v="1886" actId="1076"/>
          <ac:picMkLst>
            <pc:docMk/>
            <pc:sldMk cId="3468805561" sldId="4618"/>
            <ac:picMk id="26" creationId="{D4F637A3-15AD-1CD3-E355-05E170510C83}"/>
          </ac:picMkLst>
        </pc:picChg>
        <pc:picChg chg="add mod">
          <ac:chgData name="Abhishek Kumar Sharma" userId="50056662-f598-4bf6-81b2-5d9d1fc34a6b" providerId="ADAL" clId="{0C88D909-E452-431C-A5AD-B280061453B8}" dt="2025-01-05T17:31:51.766" v="1885" actId="1076"/>
          <ac:picMkLst>
            <pc:docMk/>
            <pc:sldMk cId="3468805561" sldId="4618"/>
            <ac:picMk id="29" creationId="{0CFDDCED-551C-0262-FD15-DD95E831A9A0}"/>
          </ac:picMkLst>
        </pc:picChg>
        <pc:cxnChg chg="mod">
          <ac:chgData name="Abhishek Kumar Sharma" userId="50056662-f598-4bf6-81b2-5d9d1fc34a6b" providerId="ADAL" clId="{0C88D909-E452-431C-A5AD-B280061453B8}" dt="2025-01-05T17:33:01.566" v="1907" actId="1076"/>
          <ac:cxnSpMkLst>
            <pc:docMk/>
            <pc:sldMk cId="3468805561" sldId="4618"/>
            <ac:cxnSpMk id="24" creationId="{5EA4FB10-2A0B-37D0-2082-91F822434504}"/>
          </ac:cxnSpMkLst>
        </pc:cxnChg>
        <pc:cxnChg chg="mod">
          <ac:chgData name="Abhishek Kumar Sharma" userId="50056662-f598-4bf6-81b2-5d9d1fc34a6b" providerId="ADAL" clId="{0C88D909-E452-431C-A5AD-B280061453B8}" dt="2025-01-05T17:36:44.145" v="1962" actId="14100"/>
          <ac:cxnSpMkLst>
            <pc:docMk/>
            <pc:sldMk cId="3468805561" sldId="4618"/>
            <ac:cxnSpMk id="27" creationId="{6B3EDA18-7B3A-77D0-0840-4E86AFC68D36}"/>
          </ac:cxnSpMkLst>
        </pc:cxnChg>
        <pc:cxnChg chg="mod">
          <ac:chgData name="Abhishek Kumar Sharma" userId="50056662-f598-4bf6-81b2-5d9d1fc34a6b" providerId="ADAL" clId="{0C88D909-E452-431C-A5AD-B280061453B8}" dt="2025-01-05T17:36:28.500" v="1958" actId="14100"/>
          <ac:cxnSpMkLst>
            <pc:docMk/>
            <pc:sldMk cId="3468805561" sldId="4618"/>
            <ac:cxnSpMk id="30" creationId="{104E4345-E0F8-039C-2AE9-7C77B4DE9DF7}"/>
          </ac:cxnSpMkLst>
        </pc:cxnChg>
        <pc:cxnChg chg="mod">
          <ac:chgData name="Abhishek Kumar Sharma" userId="50056662-f598-4bf6-81b2-5d9d1fc34a6b" providerId="ADAL" clId="{0C88D909-E452-431C-A5AD-B280061453B8}" dt="2025-01-05T17:36:21.516" v="1956" actId="14100"/>
          <ac:cxnSpMkLst>
            <pc:docMk/>
            <pc:sldMk cId="3468805561" sldId="4618"/>
            <ac:cxnSpMk id="31" creationId="{2EBB83DE-A353-5C70-5D9E-CBAE9B3A9F66}"/>
          </ac:cxnSpMkLst>
        </pc:cxnChg>
      </pc:sldChg>
      <pc:sldChg chg="modSp add mod ord">
        <pc:chgData name="Abhishek Kumar Sharma" userId="50056662-f598-4bf6-81b2-5d9d1fc34a6b" providerId="ADAL" clId="{0C88D909-E452-431C-A5AD-B280061453B8}" dt="2025-01-06T04:33:58.489" v="2473" actId="20577"/>
        <pc:sldMkLst>
          <pc:docMk/>
          <pc:sldMk cId="3036456519" sldId="4619"/>
        </pc:sldMkLst>
        <pc:spChg chg="mod">
          <ac:chgData name="Abhishek Kumar Sharma" userId="50056662-f598-4bf6-81b2-5d9d1fc34a6b" providerId="ADAL" clId="{0C88D909-E452-431C-A5AD-B280061453B8}" dt="2025-01-05T17:37:32.483" v="1969" actId="207"/>
          <ac:spMkLst>
            <pc:docMk/>
            <pc:sldMk cId="3036456519" sldId="4619"/>
            <ac:spMk id="30" creationId="{74FA8DA7-61A8-870D-9A7A-987537C513C7}"/>
          </ac:spMkLst>
        </pc:spChg>
        <pc:spChg chg="mod">
          <ac:chgData name="Abhishek Kumar Sharma" userId="50056662-f598-4bf6-81b2-5d9d1fc34a6b" providerId="ADAL" clId="{0C88D909-E452-431C-A5AD-B280061453B8}" dt="2025-01-05T17:39:18.161" v="1998" actId="14100"/>
          <ac:spMkLst>
            <pc:docMk/>
            <pc:sldMk cId="3036456519" sldId="4619"/>
            <ac:spMk id="31" creationId="{135F3D3A-37E1-C160-272F-0D76B62EC054}"/>
          </ac:spMkLst>
        </pc:spChg>
        <pc:spChg chg="mod">
          <ac:chgData name="Abhishek Kumar Sharma" userId="50056662-f598-4bf6-81b2-5d9d1fc34a6b" providerId="ADAL" clId="{0C88D909-E452-431C-A5AD-B280061453B8}" dt="2025-01-05T17:39:13.827" v="1997" actId="20577"/>
          <ac:spMkLst>
            <pc:docMk/>
            <pc:sldMk cId="3036456519" sldId="4619"/>
            <ac:spMk id="32" creationId="{7068F7A4-1F14-9F53-6C01-02F1435CF0AC}"/>
          </ac:spMkLst>
        </pc:spChg>
        <pc:spChg chg="mod">
          <ac:chgData name="Abhishek Kumar Sharma" userId="50056662-f598-4bf6-81b2-5d9d1fc34a6b" providerId="ADAL" clId="{0C88D909-E452-431C-A5AD-B280061453B8}" dt="2025-01-05T17:39:22.476" v="1999" actId="1076"/>
          <ac:spMkLst>
            <pc:docMk/>
            <pc:sldMk cId="3036456519" sldId="4619"/>
            <ac:spMk id="39" creationId="{42A50BFD-E5D7-C3C4-F9BB-5156D777A4EF}"/>
          </ac:spMkLst>
        </pc:spChg>
        <pc:spChg chg="mod">
          <ac:chgData name="Abhishek Kumar Sharma" userId="50056662-f598-4bf6-81b2-5d9d1fc34a6b" providerId="ADAL" clId="{0C88D909-E452-431C-A5AD-B280061453B8}" dt="2025-01-05T17:39:22.476" v="1999" actId="1076"/>
          <ac:spMkLst>
            <pc:docMk/>
            <pc:sldMk cId="3036456519" sldId="4619"/>
            <ac:spMk id="40" creationId="{28D30C22-8FFC-22C4-F2DA-36DF14EB2EAF}"/>
          </ac:spMkLst>
        </pc:spChg>
        <pc:spChg chg="mod">
          <ac:chgData name="Abhishek Kumar Sharma" userId="50056662-f598-4bf6-81b2-5d9d1fc34a6b" providerId="ADAL" clId="{0C88D909-E452-431C-A5AD-B280061453B8}" dt="2025-01-05T17:39:33.430" v="2002" actId="14100"/>
          <ac:spMkLst>
            <pc:docMk/>
            <pc:sldMk cId="3036456519" sldId="4619"/>
            <ac:spMk id="41" creationId="{17625BA9-09BD-3510-5576-14FA87A88588}"/>
          </ac:spMkLst>
        </pc:spChg>
        <pc:spChg chg="mod">
          <ac:chgData name="Abhishek Kumar Sharma" userId="50056662-f598-4bf6-81b2-5d9d1fc34a6b" providerId="ADAL" clId="{0C88D909-E452-431C-A5AD-B280061453B8}" dt="2025-01-06T04:33:58.489" v="2473" actId="20577"/>
          <ac:spMkLst>
            <pc:docMk/>
            <pc:sldMk cId="3036456519" sldId="4619"/>
            <ac:spMk id="42" creationId="{0E4B9787-3BEE-84A5-99D7-539D4FD09007}"/>
          </ac:spMkLst>
        </pc:spChg>
      </pc:sldChg>
      <pc:sldChg chg="addSp delSp modSp add mod">
        <pc:chgData name="Abhishek Kumar Sharma" userId="50056662-f598-4bf6-81b2-5d9d1fc34a6b" providerId="ADAL" clId="{0C88D909-E452-431C-A5AD-B280061453B8}" dt="2025-01-05T17:46:39.001" v="2091" actId="1076"/>
        <pc:sldMkLst>
          <pc:docMk/>
          <pc:sldMk cId="3664554971" sldId="4620"/>
        </pc:sldMkLst>
        <pc:spChg chg="add del mod">
          <ac:chgData name="Abhishek Kumar Sharma" userId="50056662-f598-4bf6-81b2-5d9d1fc34a6b" providerId="ADAL" clId="{0C88D909-E452-431C-A5AD-B280061453B8}" dt="2025-01-05T17:44:05.480" v="2049" actId="478"/>
          <ac:spMkLst>
            <pc:docMk/>
            <pc:sldMk cId="3664554971" sldId="4620"/>
            <ac:spMk id="3" creationId="{3DC51FAF-6DFE-F323-170D-5210E97848BA}"/>
          </ac:spMkLst>
        </pc:spChg>
        <pc:spChg chg="add mod">
          <ac:chgData name="Abhishek Kumar Sharma" userId="50056662-f598-4bf6-81b2-5d9d1fc34a6b" providerId="ADAL" clId="{0C88D909-E452-431C-A5AD-B280061453B8}" dt="2025-01-05T17:46:19.697" v="2083" actId="1076"/>
          <ac:spMkLst>
            <pc:docMk/>
            <pc:sldMk cId="3664554971" sldId="4620"/>
            <ac:spMk id="4" creationId="{E31919C4-B1A3-6B89-6ECE-5C470CAD2FB8}"/>
          </ac:spMkLst>
        </pc:spChg>
        <pc:spChg chg="add mod ord">
          <ac:chgData name="Abhishek Kumar Sharma" userId="50056662-f598-4bf6-81b2-5d9d1fc34a6b" providerId="ADAL" clId="{0C88D909-E452-431C-A5AD-B280061453B8}" dt="2025-01-05T17:46:19.697" v="2083" actId="1076"/>
          <ac:spMkLst>
            <pc:docMk/>
            <pc:sldMk cId="3664554971" sldId="4620"/>
            <ac:spMk id="5" creationId="{914CD6E2-550F-B62E-8EFC-36B2299BA00C}"/>
          </ac:spMkLst>
        </pc:spChg>
        <pc:spChg chg="mod">
          <ac:chgData name="Abhishek Kumar Sharma" userId="50056662-f598-4bf6-81b2-5d9d1fc34a6b" providerId="ADAL" clId="{0C88D909-E452-431C-A5AD-B280061453B8}" dt="2025-01-05T17:40:30.709" v="2016" actId="14100"/>
          <ac:spMkLst>
            <pc:docMk/>
            <pc:sldMk cId="3664554971" sldId="4620"/>
            <ac:spMk id="28" creationId="{13B39BCB-927E-0E60-7E5E-1B0564BC85BC}"/>
          </ac:spMkLst>
        </pc:spChg>
        <pc:spChg chg="add del mod">
          <ac:chgData name="Abhishek Kumar Sharma" userId="50056662-f598-4bf6-81b2-5d9d1fc34a6b" providerId="ADAL" clId="{0C88D909-E452-431C-A5AD-B280061453B8}" dt="2025-01-05T17:40:51.051" v="2023" actId="1076"/>
          <ac:spMkLst>
            <pc:docMk/>
            <pc:sldMk cId="3664554971" sldId="4620"/>
            <ac:spMk id="30" creationId="{B669BEFC-D207-155A-6C17-9C1E483AF939}"/>
          </ac:spMkLst>
        </pc:spChg>
        <pc:spChg chg="mod">
          <ac:chgData name="Abhishek Kumar Sharma" userId="50056662-f598-4bf6-81b2-5d9d1fc34a6b" providerId="ADAL" clId="{0C88D909-E452-431C-A5AD-B280061453B8}" dt="2025-01-05T17:46:12.317" v="2082" actId="14100"/>
          <ac:spMkLst>
            <pc:docMk/>
            <pc:sldMk cId="3664554971" sldId="4620"/>
            <ac:spMk id="31" creationId="{B9557867-13DB-085F-1890-2766CB0D2296}"/>
          </ac:spMkLst>
        </pc:spChg>
        <pc:spChg chg="mod">
          <ac:chgData name="Abhishek Kumar Sharma" userId="50056662-f598-4bf6-81b2-5d9d1fc34a6b" providerId="ADAL" clId="{0C88D909-E452-431C-A5AD-B280061453B8}" dt="2025-01-05T17:46:07.670" v="2081" actId="1076"/>
          <ac:spMkLst>
            <pc:docMk/>
            <pc:sldMk cId="3664554971" sldId="4620"/>
            <ac:spMk id="32" creationId="{4BB0C797-9596-F8B7-1ED5-E48FA694BB4B}"/>
          </ac:spMkLst>
        </pc:spChg>
        <pc:spChg chg="del">
          <ac:chgData name="Abhishek Kumar Sharma" userId="50056662-f598-4bf6-81b2-5d9d1fc34a6b" providerId="ADAL" clId="{0C88D909-E452-431C-A5AD-B280061453B8}" dt="2025-01-05T17:40:13.137" v="2012" actId="478"/>
          <ac:spMkLst>
            <pc:docMk/>
            <pc:sldMk cId="3664554971" sldId="4620"/>
            <ac:spMk id="39" creationId="{F4FC42AF-9CC8-8F2E-31B1-EA7980004D28}"/>
          </ac:spMkLst>
        </pc:spChg>
        <pc:spChg chg="del">
          <ac:chgData name="Abhishek Kumar Sharma" userId="50056662-f598-4bf6-81b2-5d9d1fc34a6b" providerId="ADAL" clId="{0C88D909-E452-431C-A5AD-B280061453B8}" dt="2025-01-05T17:40:40.581" v="2020" actId="478"/>
          <ac:spMkLst>
            <pc:docMk/>
            <pc:sldMk cId="3664554971" sldId="4620"/>
            <ac:spMk id="40" creationId="{5DFA2942-5C9D-EED0-A469-2854C4F85CBC}"/>
          </ac:spMkLst>
        </pc:spChg>
        <pc:spChg chg="del">
          <ac:chgData name="Abhishek Kumar Sharma" userId="50056662-f598-4bf6-81b2-5d9d1fc34a6b" providerId="ADAL" clId="{0C88D909-E452-431C-A5AD-B280061453B8}" dt="2025-01-05T17:40:10.452" v="2009" actId="478"/>
          <ac:spMkLst>
            <pc:docMk/>
            <pc:sldMk cId="3664554971" sldId="4620"/>
            <ac:spMk id="41" creationId="{C9DB62E0-C2F8-7C96-86E8-C295C7A9A396}"/>
          </ac:spMkLst>
        </pc:spChg>
        <pc:spChg chg="del mod">
          <ac:chgData name="Abhishek Kumar Sharma" userId="50056662-f598-4bf6-81b2-5d9d1fc34a6b" providerId="ADAL" clId="{0C88D909-E452-431C-A5AD-B280061453B8}" dt="2025-01-05T17:40:12.007" v="2011" actId="478"/>
          <ac:spMkLst>
            <pc:docMk/>
            <pc:sldMk cId="3664554971" sldId="4620"/>
            <ac:spMk id="42" creationId="{7D72C0E8-0141-AD6B-075E-427B20EE7480}"/>
          </ac:spMkLst>
        </pc:spChg>
        <pc:picChg chg="add mod">
          <ac:chgData name="Abhishek Kumar Sharma" userId="50056662-f598-4bf6-81b2-5d9d1fc34a6b" providerId="ADAL" clId="{0C88D909-E452-431C-A5AD-B280061453B8}" dt="2025-01-05T17:46:39.001" v="2091" actId="1076"/>
          <ac:picMkLst>
            <pc:docMk/>
            <pc:sldMk cId="3664554971" sldId="4620"/>
            <ac:picMk id="3074" creationId="{79E585DA-23A0-AE41-3328-A2322DE2FB70}"/>
          </ac:picMkLst>
        </pc:picChg>
      </pc:sldChg>
      <pc:sldChg chg="addSp delSp modSp add mod">
        <pc:chgData name="Abhishek Kumar Sharma" userId="50056662-f598-4bf6-81b2-5d9d1fc34a6b" providerId="ADAL" clId="{0C88D909-E452-431C-A5AD-B280061453B8}" dt="2025-01-06T04:30:14.893" v="2369" actId="1076"/>
        <pc:sldMkLst>
          <pc:docMk/>
          <pc:sldMk cId="3089253560" sldId="4621"/>
        </pc:sldMkLst>
        <pc:spChg chg="mod">
          <ac:chgData name="Abhishek Kumar Sharma" userId="50056662-f598-4bf6-81b2-5d9d1fc34a6b" providerId="ADAL" clId="{0C88D909-E452-431C-A5AD-B280061453B8}" dt="2025-01-06T04:20:12.976" v="2130" actId="207"/>
          <ac:spMkLst>
            <pc:docMk/>
            <pc:sldMk cId="3089253560" sldId="4621"/>
            <ac:spMk id="6" creationId="{0F281E67-6C9C-6A5B-FC3A-47590FABF8C2}"/>
          </ac:spMkLst>
        </pc:spChg>
        <pc:spChg chg="mod">
          <ac:chgData name="Abhishek Kumar Sharma" userId="50056662-f598-4bf6-81b2-5d9d1fc34a6b" providerId="ADAL" clId="{0C88D909-E452-431C-A5AD-B280061453B8}" dt="2025-01-06T04:24:26.720" v="2161" actId="20577"/>
          <ac:spMkLst>
            <pc:docMk/>
            <pc:sldMk cId="3089253560" sldId="4621"/>
            <ac:spMk id="7" creationId="{C4E7A75D-418F-8C14-F24C-E085DD2E14A1}"/>
          </ac:spMkLst>
        </pc:spChg>
        <pc:spChg chg="add mod">
          <ac:chgData name="Abhishek Kumar Sharma" userId="50056662-f598-4bf6-81b2-5d9d1fc34a6b" providerId="ADAL" clId="{0C88D909-E452-431C-A5AD-B280061453B8}" dt="2025-01-06T04:29:33.194" v="2330" actId="1076"/>
          <ac:spMkLst>
            <pc:docMk/>
            <pc:sldMk cId="3089253560" sldId="4621"/>
            <ac:spMk id="13" creationId="{1E20A83C-A179-1833-A852-522A9F97BFDD}"/>
          </ac:spMkLst>
        </pc:spChg>
        <pc:spChg chg="add mod ord">
          <ac:chgData name="Abhishek Kumar Sharma" userId="50056662-f598-4bf6-81b2-5d9d1fc34a6b" providerId="ADAL" clId="{0C88D909-E452-431C-A5AD-B280061453B8}" dt="2025-01-06T04:29:16.991" v="2326" actId="167"/>
          <ac:spMkLst>
            <pc:docMk/>
            <pc:sldMk cId="3089253560" sldId="4621"/>
            <ac:spMk id="15" creationId="{8AB31015-4AD1-F04E-203B-516B9954B811}"/>
          </ac:spMkLst>
        </pc:spChg>
        <pc:spChg chg="add del mod ord">
          <ac:chgData name="Abhishek Kumar Sharma" userId="50056662-f598-4bf6-81b2-5d9d1fc34a6b" providerId="ADAL" clId="{0C88D909-E452-431C-A5AD-B280061453B8}" dt="2025-01-06T04:29:14.042" v="2324" actId="167"/>
          <ac:spMkLst>
            <pc:docMk/>
            <pc:sldMk cId="3089253560" sldId="4621"/>
            <ac:spMk id="16" creationId="{A7C91DC0-3924-D528-FB89-D88F25D2725F}"/>
          </ac:spMkLst>
        </pc:spChg>
        <pc:spChg chg="del">
          <ac:chgData name="Abhishek Kumar Sharma" userId="50056662-f598-4bf6-81b2-5d9d1fc34a6b" providerId="ADAL" clId="{0C88D909-E452-431C-A5AD-B280061453B8}" dt="2025-01-06T04:18:26.841" v="2127" actId="478"/>
          <ac:spMkLst>
            <pc:docMk/>
            <pc:sldMk cId="3089253560" sldId="4621"/>
            <ac:spMk id="17" creationId="{E1C66609-47DF-1E67-62DB-DF5FE38B88EF}"/>
          </ac:spMkLst>
        </pc:spChg>
        <pc:spChg chg="del mod">
          <ac:chgData name="Abhishek Kumar Sharma" userId="50056662-f598-4bf6-81b2-5d9d1fc34a6b" providerId="ADAL" clId="{0C88D909-E452-431C-A5AD-B280061453B8}" dt="2025-01-06T04:18:25.366" v="2125" actId="478"/>
          <ac:spMkLst>
            <pc:docMk/>
            <pc:sldMk cId="3089253560" sldId="4621"/>
            <ac:spMk id="18" creationId="{6417ECFA-96FE-A447-D665-CAD9A0A052CD}"/>
          </ac:spMkLst>
        </pc:spChg>
        <pc:spChg chg="mod">
          <ac:chgData name="Abhishek Kumar Sharma" userId="50056662-f598-4bf6-81b2-5d9d1fc34a6b" providerId="ADAL" clId="{0C88D909-E452-431C-A5AD-B280061453B8}" dt="2025-01-06T04:25:41.098" v="2225" actId="14100"/>
          <ac:spMkLst>
            <pc:docMk/>
            <pc:sldMk cId="3089253560" sldId="4621"/>
            <ac:spMk id="19" creationId="{B167D0F0-5845-D5BA-68B2-95498142F04E}"/>
          </ac:spMkLst>
        </pc:spChg>
        <pc:spChg chg="add del mod">
          <ac:chgData name="Abhishek Kumar Sharma" userId="50056662-f598-4bf6-81b2-5d9d1fc34a6b" providerId="ADAL" clId="{0C88D909-E452-431C-A5AD-B280061453B8}" dt="2025-01-06T04:26:10.580" v="2251" actId="20577"/>
          <ac:spMkLst>
            <pc:docMk/>
            <pc:sldMk cId="3089253560" sldId="4621"/>
            <ac:spMk id="20" creationId="{706C7CE9-6ED7-AE49-DF06-1D1C5CFFBD7B}"/>
          </ac:spMkLst>
        </pc:spChg>
        <pc:spChg chg="del">
          <ac:chgData name="Abhishek Kumar Sharma" userId="50056662-f598-4bf6-81b2-5d9d1fc34a6b" providerId="ADAL" clId="{0C88D909-E452-431C-A5AD-B280061453B8}" dt="2025-01-06T04:18:20.855" v="2121" actId="478"/>
          <ac:spMkLst>
            <pc:docMk/>
            <pc:sldMk cId="3089253560" sldId="4621"/>
            <ac:spMk id="21" creationId="{9852A059-4AB8-3066-1E5C-738336EC8C18}"/>
          </ac:spMkLst>
        </pc:spChg>
        <pc:spChg chg="del">
          <ac:chgData name="Abhishek Kumar Sharma" userId="50056662-f598-4bf6-81b2-5d9d1fc34a6b" providerId="ADAL" clId="{0C88D909-E452-431C-A5AD-B280061453B8}" dt="2025-01-06T04:18:19.654" v="2120" actId="478"/>
          <ac:spMkLst>
            <pc:docMk/>
            <pc:sldMk cId="3089253560" sldId="4621"/>
            <ac:spMk id="22" creationId="{7E0C9E64-D8FD-C477-AE5D-D2A4681146FC}"/>
          </ac:spMkLst>
        </pc:spChg>
        <pc:spChg chg="add mod">
          <ac:chgData name="Abhishek Kumar Sharma" userId="50056662-f598-4bf6-81b2-5d9d1fc34a6b" providerId="ADAL" clId="{0C88D909-E452-431C-A5AD-B280061453B8}" dt="2025-01-06T04:30:14.893" v="2369" actId="1076"/>
          <ac:spMkLst>
            <pc:docMk/>
            <pc:sldMk cId="3089253560" sldId="4621"/>
            <ac:spMk id="23" creationId="{F593CA0C-1D93-35C0-AFE4-322EA386DB21}"/>
          </ac:spMkLst>
        </pc:spChg>
        <pc:picChg chg="del">
          <ac:chgData name="Abhishek Kumar Sharma" userId="50056662-f598-4bf6-81b2-5d9d1fc34a6b" providerId="ADAL" clId="{0C88D909-E452-431C-A5AD-B280061453B8}" dt="2025-01-06T04:17:24.415" v="2106" actId="478"/>
          <ac:picMkLst>
            <pc:docMk/>
            <pc:sldMk cId="3089253560" sldId="4621"/>
            <ac:picMk id="8" creationId="{EF8857F1-4E36-875E-D36A-0EA2F0F44B74}"/>
          </ac:picMkLst>
        </pc:picChg>
        <pc:picChg chg="add mod">
          <ac:chgData name="Abhishek Kumar Sharma" userId="50056662-f598-4bf6-81b2-5d9d1fc34a6b" providerId="ADAL" clId="{0C88D909-E452-431C-A5AD-B280061453B8}" dt="2025-01-06T04:26:45.020" v="2263" actId="1076"/>
          <ac:picMkLst>
            <pc:docMk/>
            <pc:sldMk cId="3089253560" sldId="4621"/>
            <ac:picMk id="9" creationId="{86DE201C-E18E-6B13-C37E-411AAA058FEA}"/>
          </ac:picMkLst>
        </pc:picChg>
        <pc:picChg chg="add mod">
          <ac:chgData name="Abhishek Kumar Sharma" userId="50056662-f598-4bf6-81b2-5d9d1fc34a6b" providerId="ADAL" clId="{0C88D909-E452-431C-A5AD-B280061453B8}" dt="2025-01-06T04:26:37.013" v="2259" actId="1076"/>
          <ac:picMkLst>
            <pc:docMk/>
            <pc:sldMk cId="3089253560" sldId="4621"/>
            <ac:picMk id="11" creationId="{5CA9D934-71D8-2774-5FDE-790D25C73331}"/>
          </ac:picMkLst>
        </pc:picChg>
        <pc:picChg chg="del">
          <ac:chgData name="Abhishek Kumar Sharma" userId="50056662-f598-4bf6-81b2-5d9d1fc34a6b" providerId="ADAL" clId="{0C88D909-E452-431C-A5AD-B280061453B8}" dt="2025-01-06T04:17:23.707" v="2105" actId="478"/>
          <ac:picMkLst>
            <pc:docMk/>
            <pc:sldMk cId="3089253560" sldId="4621"/>
            <ac:picMk id="12" creationId="{2D8E7C28-B82B-5A67-7F93-EAAEF88FBBD2}"/>
          </ac:picMkLst>
        </pc:picChg>
        <pc:picChg chg="del">
          <ac:chgData name="Abhishek Kumar Sharma" userId="50056662-f598-4bf6-81b2-5d9d1fc34a6b" providerId="ADAL" clId="{0C88D909-E452-431C-A5AD-B280061453B8}" dt="2025-01-06T04:17:25.027" v="2107" actId="478"/>
          <ac:picMkLst>
            <pc:docMk/>
            <pc:sldMk cId="3089253560" sldId="4621"/>
            <ac:picMk id="26" creationId="{14EDB1AA-9FA0-F1E0-C303-950E046C4A01}"/>
          </ac:picMkLst>
        </pc:picChg>
        <pc:picChg chg="del">
          <ac:chgData name="Abhishek Kumar Sharma" userId="50056662-f598-4bf6-81b2-5d9d1fc34a6b" providerId="ADAL" clId="{0C88D909-E452-431C-A5AD-B280061453B8}" dt="2025-01-06T04:17:25.671" v="2108" actId="478"/>
          <ac:picMkLst>
            <pc:docMk/>
            <pc:sldMk cId="3089253560" sldId="4621"/>
            <ac:picMk id="29" creationId="{7AAAEC8C-9B98-497F-931E-1CFD51870AA7}"/>
          </ac:picMkLst>
        </pc:picChg>
        <pc:cxnChg chg="add mod">
          <ac:chgData name="Abhishek Kumar Sharma" userId="50056662-f598-4bf6-81b2-5d9d1fc34a6b" providerId="ADAL" clId="{0C88D909-E452-431C-A5AD-B280061453B8}" dt="2025-01-06T04:29:25.594" v="2329" actId="1076"/>
          <ac:cxnSpMkLst>
            <pc:docMk/>
            <pc:sldMk cId="3089253560" sldId="4621"/>
            <ac:cxnSpMk id="14" creationId="{40FCC74E-59E5-4DD8-2536-1932C63DDFD1}"/>
          </ac:cxnSpMkLst>
        </pc:cxnChg>
        <pc:cxnChg chg="del">
          <ac:chgData name="Abhishek Kumar Sharma" userId="50056662-f598-4bf6-81b2-5d9d1fc34a6b" providerId="ADAL" clId="{0C88D909-E452-431C-A5AD-B280061453B8}" dt="2025-01-06T04:18:26.245" v="2126" actId="478"/>
          <ac:cxnSpMkLst>
            <pc:docMk/>
            <pc:sldMk cId="3089253560" sldId="4621"/>
            <ac:cxnSpMk id="24" creationId="{8D33AAE4-792A-A5F1-B907-4EDD00DC0FB9}"/>
          </ac:cxnSpMkLst>
        </pc:cxnChg>
        <pc:cxnChg chg="add mod">
          <ac:chgData name="Abhishek Kumar Sharma" userId="50056662-f598-4bf6-81b2-5d9d1fc34a6b" providerId="ADAL" clId="{0C88D909-E452-431C-A5AD-B280061453B8}" dt="2025-01-06T04:30:11.986" v="2368" actId="14100"/>
          <ac:cxnSpMkLst>
            <pc:docMk/>
            <pc:sldMk cId="3089253560" sldId="4621"/>
            <ac:cxnSpMk id="25" creationId="{6E5D003C-35D2-86CE-B564-82FEA413CE98}"/>
          </ac:cxnSpMkLst>
        </pc:cxnChg>
        <pc:cxnChg chg="del">
          <ac:chgData name="Abhishek Kumar Sharma" userId="50056662-f598-4bf6-81b2-5d9d1fc34a6b" providerId="ADAL" clId="{0C88D909-E452-431C-A5AD-B280061453B8}" dt="2025-01-06T04:26:16.487" v="2253" actId="478"/>
          <ac:cxnSpMkLst>
            <pc:docMk/>
            <pc:sldMk cId="3089253560" sldId="4621"/>
            <ac:cxnSpMk id="27" creationId="{DEBFDBF9-5554-5F2C-2279-482BEF208F40}"/>
          </ac:cxnSpMkLst>
        </pc:cxnChg>
        <pc:cxnChg chg="del mod">
          <ac:chgData name="Abhishek Kumar Sharma" userId="50056662-f598-4bf6-81b2-5d9d1fc34a6b" providerId="ADAL" clId="{0C88D909-E452-431C-A5AD-B280061453B8}" dt="2025-01-06T04:18:15.345" v="2117" actId="478"/>
          <ac:cxnSpMkLst>
            <pc:docMk/>
            <pc:sldMk cId="3089253560" sldId="4621"/>
            <ac:cxnSpMk id="31" creationId="{BC5D240E-CBDD-C364-9B81-C1B1711E8754}"/>
          </ac:cxnSpMkLst>
        </pc:cxnChg>
      </pc:sldChg>
      <pc:sldChg chg="del">
        <pc:chgData name="Abhishek Kumar Sharma" userId="50056662-f598-4bf6-81b2-5d9d1fc34a6b" providerId="ADAL" clId="{0C88D909-E452-431C-A5AD-B280061453B8}" dt="2025-01-05T14:50:27.633" v="6" actId="47"/>
        <pc:sldMkLst>
          <pc:docMk/>
          <pc:sldMk cId="3042498700" sldId="4737"/>
        </pc:sldMkLst>
      </pc:sldChg>
      <pc:sldMasterChg chg="delSldLayout">
        <pc:chgData name="Abhishek Kumar Sharma" userId="50056662-f598-4bf6-81b2-5d9d1fc34a6b" providerId="ADAL" clId="{0C88D909-E452-431C-A5AD-B280061453B8}" dt="2025-01-05T14:50:24.570" v="0" actId="47"/>
        <pc:sldMasterMkLst>
          <pc:docMk/>
          <pc:sldMasterMk cId="1282759304" sldId="2147483651"/>
        </pc:sldMasterMkLst>
        <pc:sldLayoutChg chg="del">
          <pc:chgData name="Abhishek Kumar Sharma" userId="50056662-f598-4bf6-81b2-5d9d1fc34a6b" providerId="ADAL" clId="{0C88D909-E452-431C-A5AD-B280061453B8}" dt="2025-01-05T14:50:24.570" v="0" actId="47"/>
          <pc:sldLayoutMkLst>
            <pc:docMk/>
            <pc:sldMasterMk cId="1282759304" sldId="2147483651"/>
            <pc:sldLayoutMk cId="3070744384" sldId="2147483733"/>
          </pc:sldLayoutMkLst>
        </pc:sldLayoutChg>
      </pc:sldMasterChg>
      <pc:sldMasterChg chg="delSldLayout">
        <pc:chgData name="Abhishek Kumar Sharma" userId="50056662-f598-4bf6-81b2-5d9d1fc34a6b" providerId="ADAL" clId="{0C88D909-E452-431C-A5AD-B280061453B8}" dt="2025-01-05T14:50:27.633" v="6" actId="47"/>
        <pc:sldMasterMkLst>
          <pc:docMk/>
          <pc:sldMasterMk cId="1219102352" sldId="2147483715"/>
        </pc:sldMasterMkLst>
        <pc:sldLayoutChg chg="del">
          <pc:chgData name="Abhishek Kumar Sharma" userId="50056662-f598-4bf6-81b2-5d9d1fc34a6b" providerId="ADAL" clId="{0C88D909-E452-431C-A5AD-B280061453B8}" dt="2025-01-05T14:50:27.633" v="6" actId="47"/>
          <pc:sldLayoutMkLst>
            <pc:docMk/>
            <pc:sldMasterMk cId="1219102352" sldId="2147483715"/>
            <pc:sldLayoutMk cId="2690112241" sldId="214748372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64" tIns="46582" rIns="93164" bIns="46582" rtlCol="0"/>
          <a:lstStyle>
            <a:lvl1pPr algn="l">
              <a:defRPr sz="1200"/>
            </a:lvl1pPr>
          </a:lstStyle>
          <a:p>
            <a:endParaRPr lang="en-GB" dirty="0"/>
          </a:p>
        </p:txBody>
      </p:sp>
      <p:sp>
        <p:nvSpPr>
          <p:cNvPr id="3" name="Date Placeholder 2"/>
          <p:cNvSpPr>
            <a:spLocks noGrp="1"/>
          </p:cNvSpPr>
          <p:nvPr>
            <p:ph type="dt" idx="1"/>
          </p:nvPr>
        </p:nvSpPr>
        <p:spPr>
          <a:xfrm>
            <a:off x="3970938" y="1"/>
            <a:ext cx="3037840" cy="466434"/>
          </a:xfrm>
          <a:prstGeom prst="rect">
            <a:avLst/>
          </a:prstGeom>
        </p:spPr>
        <p:txBody>
          <a:bodyPr vert="horz" lIns="93164" tIns="46582" rIns="93164" bIns="46582" rtlCol="0"/>
          <a:lstStyle>
            <a:lvl1pPr algn="r">
              <a:defRPr sz="1200"/>
            </a:lvl1pPr>
          </a:lstStyle>
          <a:p>
            <a:fld id="{BD3EC1BF-39C2-4BB5-BBE7-2DDC134993C4}" type="datetimeFigureOut">
              <a:rPr lang="en-GB" smtClean="0"/>
              <a:t>06/01/2025</a:t>
            </a:fld>
            <a:endParaRPr lang="en-GB"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64" tIns="46582" rIns="93164" bIns="46582" rtlCol="0" anchor="ctr"/>
          <a:lstStyle/>
          <a:p>
            <a:endParaRPr lang="en-GB"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64" tIns="46582" rIns="93164" bIns="4658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8"/>
            <a:ext cx="3037840" cy="466433"/>
          </a:xfrm>
          <a:prstGeom prst="rect">
            <a:avLst/>
          </a:prstGeom>
        </p:spPr>
        <p:txBody>
          <a:bodyPr vert="horz" lIns="93164" tIns="46582" rIns="93164" bIns="46582" rtlCol="0" anchor="b"/>
          <a:lstStyle>
            <a:lvl1pPr algn="l">
              <a:defRPr sz="1200"/>
            </a:lvl1pPr>
          </a:lstStyle>
          <a:p>
            <a:endParaRPr lang="en-GB" dirty="0"/>
          </a:p>
        </p:txBody>
      </p:sp>
      <p:sp>
        <p:nvSpPr>
          <p:cNvPr id="7" name="Slide Number Placeholder 6"/>
          <p:cNvSpPr>
            <a:spLocks noGrp="1"/>
          </p:cNvSpPr>
          <p:nvPr>
            <p:ph type="sldNum" sz="quarter" idx="5"/>
          </p:nvPr>
        </p:nvSpPr>
        <p:spPr>
          <a:xfrm>
            <a:off x="3970938" y="8829968"/>
            <a:ext cx="3037840" cy="466433"/>
          </a:xfrm>
          <a:prstGeom prst="rect">
            <a:avLst/>
          </a:prstGeom>
        </p:spPr>
        <p:txBody>
          <a:bodyPr vert="horz" lIns="93164" tIns="46582" rIns="93164" bIns="46582" rtlCol="0" anchor="b"/>
          <a:lstStyle>
            <a:lvl1pPr algn="r">
              <a:defRPr sz="1200"/>
            </a:lvl1pPr>
          </a:lstStyle>
          <a:p>
            <a:fld id="{48E8F7C3-EEAA-4686-9D5D-B00C3FF8AB35}" type="slidenum">
              <a:rPr lang="en-GB" smtClean="0"/>
              <a:t>‹#›</a:t>
            </a:fld>
            <a:endParaRPr lang="en-GB" dirty="0"/>
          </a:p>
        </p:txBody>
      </p:sp>
    </p:spTree>
    <p:extLst>
      <p:ext uri="{BB962C8B-B14F-4D97-AF65-F5344CB8AC3E}">
        <p14:creationId xmlns:p14="http://schemas.microsoft.com/office/powerpoint/2010/main" val="521062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E8F7C3-EEAA-4686-9D5D-B00C3FF8AB3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25153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6.jpeg"/><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xml"/><Relationship Id="rId5" Type="http://schemas.openxmlformats.org/officeDocument/2006/relationships/image" Target="../media/image6.jpe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Option 3">
    <p:spTree>
      <p:nvGrpSpPr>
        <p:cNvPr id="1" name=""/>
        <p:cNvGrpSpPr/>
        <p:nvPr/>
      </p:nvGrpSpPr>
      <p:grpSpPr>
        <a:xfrm>
          <a:off x="0" y="0"/>
          <a:ext cx="0" cy="0"/>
          <a:chOff x="0" y="0"/>
          <a:chExt cx="0" cy="0"/>
        </a:xfrm>
      </p:grpSpPr>
      <p:sp>
        <p:nvSpPr>
          <p:cNvPr id="10" name="Text Placeholder 20"/>
          <p:cNvSpPr>
            <a:spLocks noGrp="1"/>
          </p:cNvSpPr>
          <p:nvPr>
            <p:ph type="body" sz="quarter" idx="10"/>
          </p:nvPr>
        </p:nvSpPr>
        <p:spPr>
          <a:xfrm>
            <a:off x="457200" y="4026648"/>
            <a:ext cx="8229600" cy="894255"/>
          </a:xfrm>
        </p:spPr>
        <p:txBody>
          <a:bodyPr anchor="t" anchorCtr="0"/>
          <a:lstStyle>
            <a:lvl1pPr marL="0" indent="0" algn="ctr">
              <a:spcBef>
                <a:spcPts val="0"/>
              </a:spcBef>
              <a:buNone/>
              <a:defRPr sz="3200" cap="none" baseline="0">
                <a:solidFill>
                  <a:schemeClr val="accent1"/>
                </a:solidFill>
                <a:latin typeface="+mn-lt"/>
              </a:defRPr>
            </a:lvl1pPr>
          </a:lstStyle>
          <a:p>
            <a:pPr lvl="0"/>
            <a:r>
              <a:rPr lang="en-US" dirty="0"/>
              <a:t>Edit Master text styles</a:t>
            </a:r>
          </a:p>
        </p:txBody>
      </p:sp>
      <p:pic>
        <p:nvPicPr>
          <p:cNvPr id="7" name="Picture 6">
            <a:extLst>
              <a:ext uri="{FF2B5EF4-FFF2-40B4-BE49-F238E27FC236}">
                <a16:creationId xmlns:a16="http://schemas.microsoft.com/office/drawing/2014/main" id="{7969D1DE-492B-4CF6-94E0-3815E1309A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309382"/>
            <a:ext cx="1233447" cy="734482"/>
          </a:xfrm>
          <a:prstGeom prst="rect">
            <a:avLst/>
          </a:prstGeom>
        </p:spPr>
      </p:pic>
      <p:pic>
        <p:nvPicPr>
          <p:cNvPr id="11" name="Picture 2" descr="http://www.applieddatafinance.com/media/images/adf-logo.jpg">
            <a:extLst>
              <a:ext uri="{FF2B5EF4-FFF2-40B4-BE49-F238E27FC236}">
                <a16:creationId xmlns:a16="http://schemas.microsoft.com/office/drawing/2014/main" id="{DFC7305C-DECC-4131-A498-E05FA9AC8A3A}"/>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6478" t="5089" r="6478" b="4015"/>
          <a:stretch/>
        </p:blipFill>
        <p:spPr bwMode="auto">
          <a:xfrm>
            <a:off x="2037679" y="1704875"/>
            <a:ext cx="4586042" cy="131473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B3CE44D3-47F6-4C83-B219-BB12732D9B75}"/>
              </a:ext>
            </a:extLst>
          </p:cNvPr>
          <p:cNvSpPr/>
          <p:nvPr userDrawn="1"/>
        </p:nvSpPr>
        <p:spPr>
          <a:xfrm>
            <a:off x="0" y="6553241"/>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US" sz="800" dirty="0"/>
          </a:p>
        </p:txBody>
      </p:sp>
      <p:sp>
        <p:nvSpPr>
          <p:cNvPr id="14" name="TextBox 13">
            <a:extLst>
              <a:ext uri="{FF2B5EF4-FFF2-40B4-BE49-F238E27FC236}">
                <a16:creationId xmlns:a16="http://schemas.microsoft.com/office/drawing/2014/main" id="{490AD3CB-9270-4DEF-914A-F4C5F52D66E3}"/>
              </a:ext>
            </a:extLst>
          </p:cNvPr>
          <p:cNvSpPr txBox="1"/>
          <p:nvPr userDrawn="1"/>
        </p:nvSpPr>
        <p:spPr>
          <a:xfrm>
            <a:off x="7088187" y="6609969"/>
            <a:ext cx="1922463" cy="191262"/>
          </a:xfrm>
          <a:prstGeom prst="rect">
            <a:avLst/>
          </a:prstGeom>
          <a:noFill/>
        </p:spPr>
        <p:txBody>
          <a:bodyPr wrap="square" lIns="0" tIns="0" rIns="0" bIns="0" rtlCol="0" anchor="ctr">
            <a:noAutofit/>
          </a:bodyPr>
          <a:lstStyle/>
          <a:p>
            <a:pPr algn="r"/>
            <a:r>
              <a:rPr lang="en-US" sz="800" dirty="0">
                <a:solidFill>
                  <a:schemeClr val="bg1"/>
                </a:solidFill>
              </a:rPr>
              <a:t>Proprietary and Confidential</a:t>
            </a:r>
          </a:p>
        </p:txBody>
      </p:sp>
    </p:spTree>
    <p:extLst>
      <p:ext uri="{BB962C8B-B14F-4D97-AF65-F5344CB8AC3E}">
        <p14:creationId xmlns:p14="http://schemas.microsoft.com/office/powerpoint/2010/main" val="376741052"/>
      </p:ext>
    </p:extLst>
  </p:cSld>
  <p:clrMapOvr>
    <a:masterClrMapping/>
  </p:clrMapOvr>
  <p:extLst>
    <p:ext uri="{DCECCB84-F9BA-43D5-87BE-67443E8EF086}">
      <p15:sldGuideLst xmlns:p15="http://schemas.microsoft.com/office/powerpoint/2012/main">
        <p15:guide id="1" pos="288" userDrawn="1">
          <p15:clr>
            <a:srgbClr val="FBAE40"/>
          </p15:clr>
        </p15:guide>
        <p15:guide id="2" pos="547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69AE3-11CD-462D-94BF-0E03D082A4AA}"/>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070D00E-D203-4EFC-BE00-3135386F5111}"/>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6F383C-8E3C-431F-9F2F-43E24E365DD5}"/>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5" name="Footer Placeholder 4">
            <a:extLst>
              <a:ext uri="{FF2B5EF4-FFF2-40B4-BE49-F238E27FC236}">
                <a16:creationId xmlns:a16="http://schemas.microsoft.com/office/drawing/2014/main" id="{8C67AD86-B441-48B2-B711-02D0A2B28B6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EC44D71-944C-48BC-ACEF-A823BAE5D11E}"/>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3034052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78BC3-8C61-4938-AB08-6DDAB714B0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3CA1B14-6D77-4547-A90E-5FD0E92CEB2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23AE29-2908-4588-AECD-F51770312B53}"/>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5" name="Footer Placeholder 4">
            <a:extLst>
              <a:ext uri="{FF2B5EF4-FFF2-40B4-BE49-F238E27FC236}">
                <a16:creationId xmlns:a16="http://schemas.microsoft.com/office/drawing/2014/main" id="{CDD64CAD-15B8-4FFD-A814-650198C66A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4230D3-49F0-486A-8E3B-741916076EC3}"/>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3292774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17492-6082-4FFA-9C0C-E2F6F937E605}"/>
              </a:ext>
            </a:extLst>
          </p:cNvPr>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6641152-CBD9-46C2-942B-DE82EEB3B500}"/>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B40E28C-D6F8-42C3-A03D-0F944CA0331D}"/>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5" name="Footer Placeholder 4">
            <a:extLst>
              <a:ext uri="{FF2B5EF4-FFF2-40B4-BE49-F238E27FC236}">
                <a16:creationId xmlns:a16="http://schemas.microsoft.com/office/drawing/2014/main" id="{381A6D0F-1FDF-4619-BCC0-92D3544C358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9974E51-DAB5-498D-A72D-23ED53D3D54A}"/>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2524191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71304-CF18-4B06-B293-002BD16CE6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8A29EC-2A4E-45D2-A5F0-CE537B2A5C8F}"/>
              </a:ext>
            </a:extLst>
          </p:cNvPr>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401196-7544-4924-8945-A3796CA6315C}"/>
              </a:ext>
            </a:extLst>
          </p:cNvPr>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80F3AF5-35E1-4E10-B5B9-0015ED8A17A0}"/>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6" name="Footer Placeholder 5">
            <a:extLst>
              <a:ext uri="{FF2B5EF4-FFF2-40B4-BE49-F238E27FC236}">
                <a16:creationId xmlns:a16="http://schemas.microsoft.com/office/drawing/2014/main" id="{A5FA7466-5E75-410A-9BDC-A94CDFC8C1E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FD062E8-1AF1-49F4-8024-266D2992A03A}"/>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16950351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62B7F-E84F-48F1-9AE3-10F916B3F475}"/>
              </a:ext>
            </a:extLst>
          </p:cNvPr>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8E99FA-E50F-406C-A9F1-B86314B40930}"/>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6061DF7-8765-4D00-9155-456C677788E0}"/>
              </a:ext>
            </a:extLst>
          </p:cNvPr>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B02C579-8D1B-4EAF-A15A-4A00F1AEAC63}"/>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24F3259-5E07-416E-B78A-D0452CB99F5A}"/>
              </a:ext>
            </a:extLst>
          </p:cNvPr>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051413C-3A8C-43C5-97B3-C19D25D31AD6}"/>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8" name="Footer Placeholder 7">
            <a:extLst>
              <a:ext uri="{FF2B5EF4-FFF2-40B4-BE49-F238E27FC236}">
                <a16:creationId xmlns:a16="http://schemas.microsoft.com/office/drawing/2014/main" id="{410A4936-0163-4BF5-99D3-B03E5549754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4049588-01F6-4043-A1BA-2193EEE40E67}"/>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28713906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BF34E-5EE5-4B25-8C3C-35EE5AA19E3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E3BC0B2-8ED8-4963-BBA9-8E101D6DDFD5}"/>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4" name="Footer Placeholder 3">
            <a:extLst>
              <a:ext uri="{FF2B5EF4-FFF2-40B4-BE49-F238E27FC236}">
                <a16:creationId xmlns:a16="http://schemas.microsoft.com/office/drawing/2014/main" id="{4E94E8EB-0324-4E56-AB2F-F45F61F9D9A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FF5E59A-BC18-493A-A416-EACEA616CA86}"/>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29097165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738DA5-6207-41B6-A32E-2A5E41210936}"/>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3" name="Footer Placeholder 2">
            <a:extLst>
              <a:ext uri="{FF2B5EF4-FFF2-40B4-BE49-F238E27FC236}">
                <a16:creationId xmlns:a16="http://schemas.microsoft.com/office/drawing/2014/main" id="{3B774EE5-C927-4105-B947-541FF2075331}"/>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853E7A2-081D-45DB-92E6-1284E11AB516}"/>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41132526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42EC7-390A-4907-B5C5-070AB2C220F4}"/>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395BEC2-FBF5-4741-AB6F-860E8EB88882}"/>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A6F3E26-3D3F-4803-BC24-613E386EAEC8}"/>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465C227-7200-4818-93B4-6829D148A322}"/>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6" name="Footer Placeholder 5">
            <a:extLst>
              <a:ext uri="{FF2B5EF4-FFF2-40B4-BE49-F238E27FC236}">
                <a16:creationId xmlns:a16="http://schemas.microsoft.com/office/drawing/2014/main" id="{89680FD0-17EB-4AA2-B00B-9BA4ECFF6A8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3686811-C7D1-44B1-B782-B2DA0C875250}"/>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2597609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648E0-78BF-4AF5-BD55-F4FDFFB937C6}"/>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B15F0E3-BC7F-4B0B-B348-72D92383E884}"/>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B616BCB-454A-4E9E-909C-3D91FFE65DE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A3BFC7B-D1E4-4C96-905D-A3547274307E}"/>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6" name="Footer Placeholder 5">
            <a:extLst>
              <a:ext uri="{FF2B5EF4-FFF2-40B4-BE49-F238E27FC236}">
                <a16:creationId xmlns:a16="http://schemas.microsoft.com/office/drawing/2014/main" id="{DCFD40CB-4039-4246-97DE-5E9577B02A7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B2DA61C-7ACF-4E10-A0A0-563CF291DC06}"/>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7192788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5328-12F0-4701-A4A0-43CD0596C7F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17B8CB0-A6B7-45D4-9CB0-A4F2E17B35E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16AAAE-3662-4CEB-8225-82772809FB17}"/>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5" name="Footer Placeholder 4">
            <a:extLst>
              <a:ext uri="{FF2B5EF4-FFF2-40B4-BE49-F238E27FC236}">
                <a16:creationId xmlns:a16="http://schemas.microsoft.com/office/drawing/2014/main" id="{244D5E61-D613-4B92-9DDC-08A87E0ADA9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130F1C5-D48A-419D-A64C-559DEF23777F}"/>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37564420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emplate Option 3">
    <p:spTree>
      <p:nvGrpSpPr>
        <p:cNvPr id="1" name=""/>
        <p:cNvGrpSpPr/>
        <p:nvPr/>
      </p:nvGrpSpPr>
      <p:grpSpPr>
        <a:xfrm>
          <a:off x="0" y="0"/>
          <a:ext cx="0" cy="0"/>
          <a:chOff x="0" y="0"/>
          <a:chExt cx="0" cy="0"/>
        </a:xfrm>
      </p:grpSpPr>
      <p:sp>
        <p:nvSpPr>
          <p:cNvPr id="3" name="Title 2"/>
          <p:cNvSpPr>
            <a:spLocks noGrp="1"/>
          </p:cNvSpPr>
          <p:nvPr>
            <p:ph type="title"/>
          </p:nvPr>
        </p:nvSpPr>
        <p:spPr>
          <a:xfrm>
            <a:off x="228601" y="304801"/>
            <a:ext cx="8686799" cy="685800"/>
          </a:xfrm>
        </p:spPr>
        <p:txBody>
          <a:bodyPr anchor="t"/>
          <a:lstStyle>
            <a:lvl1pPr>
              <a:defRPr sz="2400" cap="none" baseline="0">
                <a:solidFill>
                  <a:schemeClr val="tx2"/>
                </a:solidFill>
                <a:latin typeface="+mj-lt"/>
              </a:defRPr>
            </a:lvl1pPr>
          </a:lstStyle>
          <a:p>
            <a:r>
              <a:rPr lang="en-US" dirty="0"/>
              <a:t>Click to edit Master title style</a:t>
            </a:r>
          </a:p>
        </p:txBody>
      </p:sp>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019799"/>
            <a:ext cx="8686799" cy="248547"/>
          </a:xfrm>
        </p:spPr>
        <p:txBody>
          <a:bodyPr lIns="0" tIns="0" rIns="0" bIns="0" anchor="b" anchorCtr="0"/>
          <a:lstStyle>
            <a:lvl1pPr marL="0" indent="0" algn="l">
              <a:spcBef>
                <a:spcPts val="0"/>
              </a:spcBef>
              <a:buNone/>
              <a:defRPr sz="9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a:extLst>
              <a:ext uri="{FF2B5EF4-FFF2-40B4-BE49-F238E27FC236}">
                <a16:creationId xmlns:a16="http://schemas.microsoft.com/office/drawing/2014/main" id="{538E19AA-F9B3-46E3-AE06-FAC87313983A}"/>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9F9EE8CF-1753-4273-965A-52DC6D5DF350}"/>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18" name="TextBox 17">
            <a:extLst>
              <a:ext uri="{FF2B5EF4-FFF2-40B4-BE49-F238E27FC236}">
                <a16:creationId xmlns:a16="http://schemas.microsoft.com/office/drawing/2014/main" id="{265070AE-06B9-4196-9170-9E1CDE25AE8A}"/>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19" name="Straight Connector 18">
            <a:extLst>
              <a:ext uri="{FF2B5EF4-FFF2-40B4-BE49-F238E27FC236}">
                <a16:creationId xmlns:a16="http://schemas.microsoft.com/office/drawing/2014/main" id="{19F73B8C-86CD-4153-B2A9-C750B4DD532F}"/>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Picture 2" descr="http://www.applieddatafinance.com/media/images/adf-logo.jpg">
            <a:extLst>
              <a:ext uri="{FF2B5EF4-FFF2-40B4-BE49-F238E27FC236}">
                <a16:creationId xmlns:a16="http://schemas.microsoft.com/office/drawing/2014/main" id="{24F66632-A073-481A-BEAF-3603AA702B24}"/>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5116" t="4281" r="5066" b="1525"/>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1509033"/>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D6074B9-60FD-44A0-850C-800FD8A66DAA}"/>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846CA63-9839-45E4-B072-4926397D358C}"/>
              </a:ext>
            </a:extLst>
          </p:cNvPr>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74E4B9-C6B2-4F3F-9048-0823C83B672F}"/>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5" name="Footer Placeholder 4">
            <a:extLst>
              <a:ext uri="{FF2B5EF4-FFF2-40B4-BE49-F238E27FC236}">
                <a16:creationId xmlns:a16="http://schemas.microsoft.com/office/drawing/2014/main" id="{EC420958-F992-43F6-B4B6-015746456E9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64ECEC4-6B3E-4C77-A723-71177926299D}"/>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1632556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E731B-09B0-4495-A018-407BE29CE9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D387A24-C334-4796-AFC9-125B17945EE7}"/>
              </a:ext>
            </a:extLst>
          </p:cNvPr>
          <p:cNvSpPr>
            <a:spLocks noGrp="1"/>
          </p:cNvSpPr>
          <p:nvPr>
            <p:ph type="dt" sz="half" idx="10"/>
          </p:nvPr>
        </p:nvSpPr>
        <p:spPr/>
        <p:txBody>
          <a:bodyPr/>
          <a:lstStyle/>
          <a:p>
            <a:fld id="{7A8FA199-D958-4D8E-AD3E-0BAC134C93DC}" type="datetimeFigureOut">
              <a:rPr lang="en-US" smtClean="0"/>
              <a:t>1/6/2025</a:t>
            </a:fld>
            <a:endParaRPr lang="en-US" dirty="0"/>
          </a:p>
        </p:txBody>
      </p:sp>
      <p:sp>
        <p:nvSpPr>
          <p:cNvPr id="4" name="Footer Placeholder 3">
            <a:extLst>
              <a:ext uri="{FF2B5EF4-FFF2-40B4-BE49-F238E27FC236}">
                <a16:creationId xmlns:a16="http://schemas.microsoft.com/office/drawing/2014/main" id="{233AFB9E-9F78-41C2-8573-3A154F9394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8D0AF46-CA27-4C4A-B66F-274CBD2B32DE}"/>
              </a:ext>
            </a:extLst>
          </p:cNvPr>
          <p:cNvSpPr>
            <a:spLocks noGrp="1"/>
          </p:cNvSpPr>
          <p:nvPr>
            <p:ph type="sldNum" sz="quarter" idx="12"/>
          </p:nvPr>
        </p:nvSpPr>
        <p:spPr/>
        <p:txBody>
          <a:bodyPr/>
          <a:lstStyle/>
          <a:p>
            <a:fld id="{F0EE01B6-C7D6-40DE-8A22-CC41578609A4}" type="slidenum">
              <a:rPr lang="en-US" smtClean="0"/>
              <a:t>‹#›</a:t>
            </a:fld>
            <a:endParaRPr lang="en-US" dirty="0"/>
          </a:p>
        </p:txBody>
      </p:sp>
    </p:spTree>
    <p:extLst>
      <p:ext uri="{BB962C8B-B14F-4D97-AF65-F5344CB8AC3E}">
        <p14:creationId xmlns:p14="http://schemas.microsoft.com/office/powerpoint/2010/main" val="38872742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ption 3">
    <p:spTree>
      <p:nvGrpSpPr>
        <p:cNvPr id="1" name=""/>
        <p:cNvGrpSpPr/>
        <p:nvPr/>
      </p:nvGrpSpPr>
      <p:grpSpPr>
        <a:xfrm>
          <a:off x="0" y="0"/>
          <a:ext cx="0" cy="0"/>
          <a:chOff x="0" y="0"/>
          <a:chExt cx="0" cy="0"/>
        </a:xfrm>
      </p:grpSpPr>
      <p:sp>
        <p:nvSpPr>
          <p:cNvPr id="10" name="Text Placeholder 20"/>
          <p:cNvSpPr>
            <a:spLocks noGrp="1"/>
          </p:cNvSpPr>
          <p:nvPr>
            <p:ph type="body" sz="quarter" idx="10"/>
          </p:nvPr>
        </p:nvSpPr>
        <p:spPr>
          <a:xfrm>
            <a:off x="457200" y="4026648"/>
            <a:ext cx="8229600" cy="894255"/>
          </a:xfrm>
        </p:spPr>
        <p:txBody>
          <a:bodyPr anchor="t" anchorCtr="0"/>
          <a:lstStyle>
            <a:lvl1pPr marL="0" indent="0" algn="ctr">
              <a:spcBef>
                <a:spcPts val="0"/>
              </a:spcBef>
              <a:buNone/>
              <a:defRPr sz="3200" cap="none" baseline="0">
                <a:solidFill>
                  <a:schemeClr val="accent1"/>
                </a:solidFill>
                <a:latin typeface="+mn-lt"/>
              </a:defRPr>
            </a:lvl1pPr>
          </a:lstStyle>
          <a:p>
            <a:pPr lvl="0"/>
            <a:r>
              <a:rPr lang="en-US" dirty="0"/>
              <a:t>Edit Master text styles</a:t>
            </a:r>
          </a:p>
        </p:txBody>
      </p:sp>
      <p:pic>
        <p:nvPicPr>
          <p:cNvPr id="7" name="Picture 6">
            <a:extLst>
              <a:ext uri="{FF2B5EF4-FFF2-40B4-BE49-F238E27FC236}">
                <a16:creationId xmlns:a16="http://schemas.microsoft.com/office/drawing/2014/main" id="{7969D1DE-492B-4CF6-94E0-3815E1309A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309382"/>
            <a:ext cx="1233447" cy="734482"/>
          </a:xfrm>
          <a:prstGeom prst="rect">
            <a:avLst/>
          </a:prstGeom>
        </p:spPr>
      </p:pic>
      <p:pic>
        <p:nvPicPr>
          <p:cNvPr id="11" name="Picture 2" descr="http://www.applieddatafinance.com/media/images/adf-logo.jpg">
            <a:extLst>
              <a:ext uri="{FF2B5EF4-FFF2-40B4-BE49-F238E27FC236}">
                <a16:creationId xmlns:a16="http://schemas.microsoft.com/office/drawing/2014/main" id="{DFC7305C-DECC-4131-A498-E05FA9AC8A3A}"/>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6478" t="5089" r="6478" b="4015"/>
          <a:stretch/>
        </p:blipFill>
        <p:spPr bwMode="auto">
          <a:xfrm>
            <a:off x="2037679" y="1704875"/>
            <a:ext cx="4586042" cy="131473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B3CE44D3-47F6-4C83-B219-BB12732D9B75}"/>
              </a:ext>
            </a:extLst>
          </p:cNvPr>
          <p:cNvSpPr/>
          <p:nvPr userDrawn="1"/>
        </p:nvSpPr>
        <p:spPr>
          <a:xfrm>
            <a:off x="0" y="6553241"/>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US" sz="800" dirty="0"/>
          </a:p>
        </p:txBody>
      </p:sp>
      <p:sp>
        <p:nvSpPr>
          <p:cNvPr id="14" name="TextBox 13">
            <a:extLst>
              <a:ext uri="{FF2B5EF4-FFF2-40B4-BE49-F238E27FC236}">
                <a16:creationId xmlns:a16="http://schemas.microsoft.com/office/drawing/2014/main" id="{490AD3CB-9270-4DEF-914A-F4C5F52D66E3}"/>
              </a:ext>
            </a:extLst>
          </p:cNvPr>
          <p:cNvSpPr txBox="1"/>
          <p:nvPr userDrawn="1"/>
        </p:nvSpPr>
        <p:spPr>
          <a:xfrm>
            <a:off x="7088187" y="6609969"/>
            <a:ext cx="1922463" cy="191262"/>
          </a:xfrm>
          <a:prstGeom prst="rect">
            <a:avLst/>
          </a:prstGeom>
          <a:noFill/>
        </p:spPr>
        <p:txBody>
          <a:bodyPr wrap="square" lIns="0" tIns="0" rIns="0" bIns="0" rtlCol="0" anchor="ctr">
            <a:noAutofit/>
          </a:bodyPr>
          <a:lstStyle/>
          <a:p>
            <a:pPr algn="r"/>
            <a:r>
              <a:rPr lang="en-US" sz="800" dirty="0">
                <a:solidFill>
                  <a:schemeClr val="bg1"/>
                </a:solidFill>
              </a:rPr>
              <a:t>Proprietary and Confidential</a:t>
            </a:r>
          </a:p>
        </p:txBody>
      </p:sp>
    </p:spTree>
    <p:extLst>
      <p:ext uri="{BB962C8B-B14F-4D97-AF65-F5344CB8AC3E}">
        <p14:creationId xmlns:p14="http://schemas.microsoft.com/office/powerpoint/2010/main" val="601703689"/>
      </p:ext>
    </p:extLst>
  </p:cSld>
  <p:clrMapOvr>
    <a:masterClrMapping/>
  </p:clrMapOvr>
  <p:extLst>
    <p:ext uri="{DCECCB84-F9BA-43D5-87BE-67443E8EF086}">
      <p15:sldGuideLst xmlns:p15="http://schemas.microsoft.com/office/powerpoint/2012/main">
        <p15:guide id="1" pos="288">
          <p15:clr>
            <a:srgbClr val="FBAE40"/>
          </p15:clr>
        </p15:guide>
        <p15:guide id="2" pos="547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Template Option 3">
    <p:spTree>
      <p:nvGrpSpPr>
        <p:cNvPr id="1" name=""/>
        <p:cNvGrpSpPr/>
        <p:nvPr/>
      </p:nvGrpSpPr>
      <p:grpSpPr>
        <a:xfrm>
          <a:off x="0" y="0"/>
          <a:ext cx="0" cy="0"/>
          <a:chOff x="0" y="0"/>
          <a:chExt cx="0" cy="0"/>
        </a:xfrm>
      </p:grpSpPr>
      <p:sp>
        <p:nvSpPr>
          <p:cNvPr id="3" name="Title 2"/>
          <p:cNvSpPr>
            <a:spLocks noGrp="1"/>
          </p:cNvSpPr>
          <p:nvPr>
            <p:ph type="title"/>
          </p:nvPr>
        </p:nvSpPr>
        <p:spPr>
          <a:xfrm>
            <a:off x="228601" y="304801"/>
            <a:ext cx="8686799" cy="685800"/>
          </a:xfrm>
        </p:spPr>
        <p:txBody>
          <a:bodyPr anchor="t"/>
          <a:lstStyle>
            <a:lvl1pPr>
              <a:defRPr sz="2400" cap="none" baseline="0">
                <a:solidFill>
                  <a:schemeClr val="tx2"/>
                </a:solidFill>
                <a:latin typeface="+mj-lt"/>
              </a:defRPr>
            </a:lvl1pPr>
          </a:lstStyle>
          <a:p>
            <a:r>
              <a:rPr lang="en-US" dirty="0"/>
              <a:t>Click to edit Master title style</a:t>
            </a:r>
          </a:p>
        </p:txBody>
      </p:sp>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019799"/>
            <a:ext cx="8686799" cy="248547"/>
          </a:xfrm>
        </p:spPr>
        <p:txBody>
          <a:bodyPr lIns="0" tIns="0" rIns="0" bIns="0" anchor="b" anchorCtr="0"/>
          <a:lstStyle>
            <a:lvl1pPr marL="0" indent="0" algn="l">
              <a:spcBef>
                <a:spcPts val="0"/>
              </a:spcBef>
              <a:buNone/>
              <a:defRPr sz="9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a:extLst>
              <a:ext uri="{FF2B5EF4-FFF2-40B4-BE49-F238E27FC236}">
                <a16:creationId xmlns:a16="http://schemas.microsoft.com/office/drawing/2014/main" id="{538E19AA-F9B3-46E3-AE06-FAC87313983A}"/>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9F9EE8CF-1753-4273-965A-52DC6D5DF350}"/>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18" name="TextBox 17">
            <a:extLst>
              <a:ext uri="{FF2B5EF4-FFF2-40B4-BE49-F238E27FC236}">
                <a16:creationId xmlns:a16="http://schemas.microsoft.com/office/drawing/2014/main" id="{265070AE-06B9-4196-9170-9E1CDE25AE8A}"/>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19" name="Straight Connector 18">
            <a:extLst>
              <a:ext uri="{FF2B5EF4-FFF2-40B4-BE49-F238E27FC236}">
                <a16:creationId xmlns:a16="http://schemas.microsoft.com/office/drawing/2014/main" id="{19F73B8C-86CD-4153-B2A9-C750B4DD532F}"/>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Picture 2" descr="http://www.applieddatafinance.com/media/images/adf-logo.jpg">
            <a:extLst>
              <a:ext uri="{FF2B5EF4-FFF2-40B4-BE49-F238E27FC236}">
                <a16:creationId xmlns:a16="http://schemas.microsoft.com/office/drawing/2014/main" id="{24F66632-A073-481A-BEAF-3603AA702B24}"/>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5116" t="4281" r="5066" b="1525"/>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2929453"/>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Template Option 3">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017014"/>
            <a:ext cx="8686799" cy="248547"/>
          </a:xfrm>
        </p:spPr>
        <p:txBody>
          <a:bodyPr lIns="0" tIns="0" rIns="0" bIns="0" anchor="b" anchorCtr="0"/>
          <a:lstStyle>
            <a:lvl1pPr marL="0" indent="0" algn="l">
              <a:spcBef>
                <a:spcPts val="0"/>
              </a:spcBef>
              <a:buNone/>
              <a:defRPr sz="9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2">
            <a:extLst>
              <a:ext uri="{FF2B5EF4-FFF2-40B4-BE49-F238E27FC236}">
                <a16:creationId xmlns:a16="http://schemas.microsoft.com/office/drawing/2014/main" id="{8608C1AF-2A94-41C3-A779-EAF0778338CA}"/>
              </a:ext>
            </a:extLst>
          </p:cNvPr>
          <p:cNvSpPr>
            <a:spLocks noGrp="1"/>
          </p:cNvSpPr>
          <p:nvPr>
            <p:ph type="title"/>
          </p:nvPr>
        </p:nvSpPr>
        <p:spPr>
          <a:xfrm>
            <a:off x="228601" y="304801"/>
            <a:ext cx="8686799" cy="361949"/>
          </a:xfrm>
        </p:spPr>
        <p:txBody>
          <a:bodyPr anchor="t"/>
          <a:lstStyle>
            <a:lvl1pPr>
              <a:defRPr sz="2400" cap="none" baseline="0">
                <a:solidFill>
                  <a:schemeClr val="tx2"/>
                </a:solidFill>
                <a:latin typeface="+mj-lt"/>
              </a:defRPr>
            </a:lvl1pPr>
          </a:lstStyle>
          <a:p>
            <a:r>
              <a:rPr lang="en-US" dirty="0"/>
              <a:t>Click to edit Master title style</a:t>
            </a:r>
          </a:p>
        </p:txBody>
      </p:sp>
      <p:sp>
        <p:nvSpPr>
          <p:cNvPr id="14" name="Text Placeholder 3">
            <a:extLst>
              <a:ext uri="{FF2B5EF4-FFF2-40B4-BE49-F238E27FC236}">
                <a16:creationId xmlns:a16="http://schemas.microsoft.com/office/drawing/2014/main" id="{2D405AE8-D7C1-403E-950C-45834FF8B6CF}"/>
              </a:ext>
            </a:extLst>
          </p:cNvPr>
          <p:cNvSpPr>
            <a:spLocks noGrp="1"/>
          </p:cNvSpPr>
          <p:nvPr>
            <p:ph type="body" sz="quarter" idx="12" hasCustomPrompt="1"/>
          </p:nvPr>
        </p:nvSpPr>
        <p:spPr>
          <a:xfrm>
            <a:off x="228600" y="714375"/>
            <a:ext cx="8686800" cy="276225"/>
          </a:xfrm>
        </p:spPr>
        <p:txBody>
          <a:bodyPr anchor="t"/>
          <a:lstStyle>
            <a:lvl1pPr marL="0" indent="0">
              <a:buNone/>
              <a:defRPr sz="1800" b="0">
                <a:solidFill>
                  <a:schemeClr val="accent1"/>
                </a:solidFill>
              </a:defRPr>
            </a:lvl1pPr>
          </a:lstStyle>
          <a:p>
            <a:pPr lvl="0"/>
            <a:r>
              <a:rPr lang="en-US" dirty="0"/>
              <a:t>Subtitle</a:t>
            </a:r>
          </a:p>
        </p:txBody>
      </p:sp>
      <p:sp>
        <p:nvSpPr>
          <p:cNvPr id="11" name="Rectangle 10">
            <a:extLst>
              <a:ext uri="{FF2B5EF4-FFF2-40B4-BE49-F238E27FC236}">
                <a16:creationId xmlns:a16="http://schemas.microsoft.com/office/drawing/2014/main" id="{0734F346-4D42-4972-B8C6-1ECBF2A72886}"/>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521E9EFA-5B31-4874-B4B0-D96AD8930AE4}"/>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20" name="TextBox 19">
            <a:extLst>
              <a:ext uri="{FF2B5EF4-FFF2-40B4-BE49-F238E27FC236}">
                <a16:creationId xmlns:a16="http://schemas.microsoft.com/office/drawing/2014/main" id="{9D65390D-BDE3-4E8B-A276-558103BF6A88}"/>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21" name="Straight Connector 20">
            <a:extLst>
              <a:ext uri="{FF2B5EF4-FFF2-40B4-BE49-F238E27FC236}">
                <a16:creationId xmlns:a16="http://schemas.microsoft.com/office/drawing/2014/main" id="{970AB030-BDD1-400A-8C11-152C6CE0A02E}"/>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Picture 2" descr="http://www.applieddatafinance.com/media/images/adf-logo.jpg">
            <a:extLst>
              <a:ext uri="{FF2B5EF4-FFF2-40B4-BE49-F238E27FC236}">
                <a16:creationId xmlns:a16="http://schemas.microsoft.com/office/drawing/2014/main" id="{64553416-CBE0-4216-800C-FE568FDD8D9E}"/>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5116" t="4281" r="5066" b="1525"/>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5013384"/>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Title Option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E96EE0B-7828-4B9B-A4B9-6BC00283B15D}"/>
              </a:ext>
            </a:extLst>
          </p:cNvPr>
          <p:cNvPicPr>
            <a:picLocks noChangeAspect="1"/>
          </p:cNvPicPr>
          <p:nvPr userDrawn="1"/>
        </p:nvPicPr>
        <p:blipFill>
          <a:blip r:embed="rId2"/>
          <a:stretch>
            <a:fillRect/>
          </a:stretch>
        </p:blipFill>
        <p:spPr>
          <a:xfrm>
            <a:off x="457199" y="2267771"/>
            <a:ext cx="5168901" cy="464886"/>
          </a:xfrm>
          <a:prstGeom prst="rect">
            <a:avLst/>
          </a:prstGeom>
        </p:spPr>
      </p:pic>
      <p:sp>
        <p:nvSpPr>
          <p:cNvPr id="10" name="Text Placeholder 20"/>
          <p:cNvSpPr>
            <a:spLocks noGrp="1"/>
          </p:cNvSpPr>
          <p:nvPr>
            <p:ph type="body" sz="quarter" idx="10"/>
          </p:nvPr>
        </p:nvSpPr>
        <p:spPr>
          <a:xfrm>
            <a:off x="457200" y="3186465"/>
            <a:ext cx="8229600" cy="894255"/>
          </a:xfrm>
        </p:spPr>
        <p:txBody>
          <a:bodyPr anchor="t" anchorCtr="0"/>
          <a:lstStyle>
            <a:lvl1pPr marL="0" indent="0" algn="l">
              <a:spcBef>
                <a:spcPts val="0"/>
              </a:spcBef>
              <a:buNone/>
              <a:defRPr sz="4000" cap="none" baseline="0">
                <a:solidFill>
                  <a:schemeClr val="accent1"/>
                </a:solidFill>
                <a:latin typeface="+mn-lt"/>
              </a:defRPr>
            </a:lvl1pPr>
          </a:lstStyle>
          <a:p>
            <a:pPr lvl="0"/>
            <a:r>
              <a:rPr lang="en-US" dirty="0"/>
              <a:t>Edit Master text styles</a:t>
            </a:r>
          </a:p>
        </p:txBody>
      </p:sp>
      <p:pic>
        <p:nvPicPr>
          <p:cNvPr id="7" name="Picture 6">
            <a:extLst>
              <a:ext uri="{FF2B5EF4-FFF2-40B4-BE49-F238E27FC236}">
                <a16:creationId xmlns:a16="http://schemas.microsoft.com/office/drawing/2014/main" id="{7969D1DE-492B-4CF6-94E0-3815E1309A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73808" y="2019300"/>
            <a:ext cx="1136274" cy="676618"/>
          </a:xfrm>
          <a:prstGeom prst="rect">
            <a:avLst/>
          </a:prstGeom>
        </p:spPr>
      </p:pic>
      <p:cxnSp>
        <p:nvCxnSpPr>
          <p:cNvPr id="3" name="Straight Connector 2">
            <a:extLst>
              <a:ext uri="{FF2B5EF4-FFF2-40B4-BE49-F238E27FC236}">
                <a16:creationId xmlns:a16="http://schemas.microsoft.com/office/drawing/2014/main" id="{FDDC0263-7201-4BF5-8FBB-5BE920C5521C}"/>
              </a:ext>
            </a:extLst>
          </p:cNvPr>
          <p:cNvCxnSpPr/>
          <p:nvPr userDrawn="1"/>
        </p:nvCxnSpPr>
        <p:spPr>
          <a:xfrm>
            <a:off x="457200" y="2989943"/>
            <a:ext cx="8229600" cy="0"/>
          </a:xfrm>
          <a:prstGeom prst="line">
            <a:avLst/>
          </a:prstGeom>
          <a:ln w="38100">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223B926-EC44-4838-9A55-ECC50BB5BEFC}"/>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C5B60A06-9632-4B11-9F24-EA9D7DB24472}"/>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14" name="TextBox 13">
            <a:extLst>
              <a:ext uri="{FF2B5EF4-FFF2-40B4-BE49-F238E27FC236}">
                <a16:creationId xmlns:a16="http://schemas.microsoft.com/office/drawing/2014/main" id="{D013E8AF-040A-402A-A860-176ABB64479B}"/>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15" name="Straight Connector 14">
            <a:extLst>
              <a:ext uri="{FF2B5EF4-FFF2-40B4-BE49-F238E27FC236}">
                <a16:creationId xmlns:a16="http://schemas.microsoft.com/office/drawing/2014/main" id="{D6EFEDB2-DA71-4A52-8EAD-5331ECED2C6D}"/>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7773424"/>
      </p:ext>
    </p:extLst>
  </p:cSld>
  <p:clrMapOvr>
    <a:masterClrMapping/>
  </p:clrMapOvr>
  <p:extLst>
    <p:ext uri="{DCECCB84-F9BA-43D5-87BE-67443E8EF086}">
      <p15:sldGuideLst xmlns:p15="http://schemas.microsoft.com/office/powerpoint/2012/main">
        <p15:guide id="1" pos="288">
          <p15:clr>
            <a:srgbClr val="FBAE40"/>
          </p15:clr>
        </p15:guide>
        <p15:guide id="2" pos="547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No Subhead Bulle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CF55EF-4A97-4375-B337-1970E6DAB0E0}"/>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5" name="TextBox 4"/>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6" name="TextBox 5"/>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sp>
        <p:nvSpPr>
          <p:cNvPr id="3" name="Title 2"/>
          <p:cNvSpPr>
            <a:spLocks noGrp="1"/>
          </p:cNvSpPr>
          <p:nvPr>
            <p:ph type="title"/>
          </p:nvPr>
        </p:nvSpPr>
        <p:spPr>
          <a:xfrm>
            <a:off x="228601" y="304801"/>
            <a:ext cx="8686799" cy="685800"/>
          </a:xfrm>
        </p:spPr>
        <p:txBody>
          <a:bodyPr anchor="t"/>
          <a:lstStyle>
            <a:lvl1pPr>
              <a:defRPr sz="2400" cap="none" baseline="0">
                <a:solidFill>
                  <a:schemeClr val="tx2"/>
                </a:solidFill>
                <a:latin typeface="+mj-lt"/>
              </a:defRPr>
            </a:lvl1pPr>
          </a:lstStyle>
          <a:p>
            <a:r>
              <a:rPr lang="en-US" dirty="0"/>
              <a:t>Click to edit Master title style</a:t>
            </a:r>
          </a:p>
        </p:txBody>
      </p:sp>
      <p:cxnSp>
        <p:nvCxnSpPr>
          <p:cNvPr id="26" name="Straight Connector 25">
            <a:extLst>
              <a:ext uri="{FF2B5EF4-FFF2-40B4-BE49-F238E27FC236}">
                <a16:creationId xmlns:a16="http://schemas.microsoft.com/office/drawing/2014/main" id="{603F8ADC-BC1B-40F2-9881-54C2F8F508D1}"/>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241151"/>
            <a:ext cx="7340599" cy="248547"/>
          </a:xfrm>
        </p:spPr>
        <p:txBody>
          <a:bodyPr lIns="0" tIns="0" rIns="0" bIns="0" anchor="b" anchorCtr="0"/>
          <a:lstStyle>
            <a:lvl1pPr marL="0" indent="0" algn="l">
              <a:spcBef>
                <a:spcPts val="0"/>
              </a:spcBef>
              <a:buNone/>
              <a:defRPr sz="8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2" descr="http://www.applieddatafinance.com/media/images/adf-logo.jpg">
            <a:extLst>
              <a:ext uri="{FF2B5EF4-FFF2-40B4-BE49-F238E27FC236}">
                <a16:creationId xmlns:a16="http://schemas.microsoft.com/office/drawing/2014/main" id="{AD8B8ABB-2AB3-48FC-950B-ADDDF2497C76}"/>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263325"/>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12DAA6-C83B-41A5-B133-22A2209A3F8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11" name="Object 10" hidden="1">
                        <a:extLst>
                          <a:ext uri="{FF2B5EF4-FFF2-40B4-BE49-F238E27FC236}">
                            <a16:creationId xmlns:a16="http://schemas.microsoft.com/office/drawing/2014/main" id="{7912DAA6-C83B-41A5-B133-22A2209A3F8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6BBE4F4-E0E7-4517-A6BE-75BC45E4A88C}"/>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pic>
        <p:nvPicPr>
          <p:cNvPr id="4" name="Picture 2" descr="http://www.applieddatafinance.com/media/images/adf-logo.jpg">
            <a:extLst>
              <a:ext uri="{FF2B5EF4-FFF2-40B4-BE49-F238E27FC236}">
                <a16:creationId xmlns:a16="http://schemas.microsoft.com/office/drawing/2014/main" id="{FD7DC616-BE78-49D2-B3AF-3AE28B67920B}"/>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3E169B6-6249-43F5-AB1C-780B6B8504C3}"/>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6" name="TextBox 5">
            <a:extLst>
              <a:ext uri="{FF2B5EF4-FFF2-40B4-BE49-F238E27FC236}">
                <a16:creationId xmlns:a16="http://schemas.microsoft.com/office/drawing/2014/main" id="{6C9AE586-74AC-4E84-88B9-D689BA356AA7}"/>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7" name="Straight Connector 6">
            <a:extLst>
              <a:ext uri="{FF2B5EF4-FFF2-40B4-BE49-F238E27FC236}">
                <a16:creationId xmlns:a16="http://schemas.microsoft.com/office/drawing/2014/main" id="{5D47B8A2-1477-4259-9408-3A49F39D5AC7}"/>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itle 2">
            <a:extLst>
              <a:ext uri="{FF2B5EF4-FFF2-40B4-BE49-F238E27FC236}">
                <a16:creationId xmlns:a16="http://schemas.microsoft.com/office/drawing/2014/main" id="{EF206BBB-6542-4A5A-A5BA-D9C9D4F8BDA1}"/>
              </a:ext>
            </a:extLst>
          </p:cNvPr>
          <p:cNvSpPr>
            <a:spLocks noGrp="1"/>
          </p:cNvSpPr>
          <p:nvPr>
            <p:ph type="title"/>
          </p:nvPr>
        </p:nvSpPr>
        <p:spPr>
          <a:xfrm>
            <a:off x="228601" y="225425"/>
            <a:ext cx="8686799" cy="765176"/>
          </a:xfrm>
        </p:spPr>
        <p:txBody>
          <a:bodyPr anchor="t"/>
          <a:lstStyle>
            <a:lvl1pPr>
              <a:defRPr sz="2300" cap="none" baseline="0">
                <a:solidFill>
                  <a:schemeClr val="tx1">
                    <a:lumMod val="75000"/>
                    <a:lumOff val="25000"/>
                  </a:schemeClr>
                </a:solidFill>
                <a:latin typeface="+mn-lt"/>
              </a:defRPr>
            </a:lvl1pPr>
          </a:lstStyle>
          <a:p>
            <a:r>
              <a:rPr lang="en-US" dirty="0"/>
              <a:t>Click to edit Master title style</a:t>
            </a:r>
          </a:p>
        </p:txBody>
      </p:sp>
      <p:sp>
        <p:nvSpPr>
          <p:cNvPr id="10" name="Text Placeholder 29">
            <a:extLst>
              <a:ext uri="{FF2B5EF4-FFF2-40B4-BE49-F238E27FC236}">
                <a16:creationId xmlns:a16="http://schemas.microsoft.com/office/drawing/2014/main" id="{B2BC1EA4-10BF-4395-8FED-5DB500284F5B}"/>
              </a:ext>
            </a:extLst>
          </p:cNvPr>
          <p:cNvSpPr>
            <a:spLocks noGrp="1"/>
          </p:cNvSpPr>
          <p:nvPr>
            <p:ph type="body" sz="quarter" idx="10" hasCustomPrompt="1"/>
          </p:nvPr>
        </p:nvSpPr>
        <p:spPr>
          <a:xfrm>
            <a:off x="228601" y="6241151"/>
            <a:ext cx="7999809" cy="248547"/>
          </a:xfrm>
        </p:spPr>
        <p:txBody>
          <a:bodyPr lIns="0" tIns="0" rIns="0" bIns="0" anchor="b" anchorCtr="0"/>
          <a:lstStyle>
            <a:lvl1pPr marL="0" indent="0" algn="l">
              <a:spcBef>
                <a:spcPts val="0"/>
              </a:spcBef>
              <a:buNone/>
              <a:defRPr sz="8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Tree>
    <p:extLst>
      <p:ext uri="{BB962C8B-B14F-4D97-AF65-F5344CB8AC3E}">
        <p14:creationId xmlns:p14="http://schemas.microsoft.com/office/powerpoint/2010/main" val="2128232955"/>
      </p:ext>
    </p:extLst>
  </p:cSld>
  <p:clrMapOvr>
    <a:masterClrMapping/>
  </p:clrMapOvr>
  <p:extLst>
    <p:ext uri="{DCECCB84-F9BA-43D5-87BE-67443E8EF086}">
      <p15:sldGuideLst xmlns:p15="http://schemas.microsoft.com/office/powerpoint/2012/main">
        <p15:guide id="2" orient="horz" pos="393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5" name="Title 4"/>
          <p:cNvSpPr>
            <a:spLocks noGrp="1" noChangeAspect="1"/>
          </p:cNvSpPr>
          <p:nvPr>
            <p:ph type="title"/>
          </p:nvPr>
        </p:nvSpPr>
        <p:spPr>
          <a:xfrm>
            <a:off x="618031" y="230586"/>
            <a:ext cx="6314981" cy="424732"/>
          </a:xfrm>
        </p:spPr>
        <p:txBody>
          <a:bodyPr>
            <a:spAutoFit/>
          </a:bodyPr>
          <a:lstStyle>
            <a:lvl1pPr>
              <a:defRPr sz="2400" baseline="0">
                <a:solidFill>
                  <a:srgbClr val="4D4D4D"/>
                </a:solidFill>
                <a:latin typeface="Calibri Light" panose="020F0302020204030204" pitchFamily="34" charset="0"/>
                <a:cs typeface="Calibri Light" panose="020F0302020204030204" pitchFamily="34" charset="0"/>
              </a:defRPr>
            </a:lvl1pPr>
          </a:lstStyle>
          <a:p>
            <a:r>
              <a:rPr lang="en-US" dirty="0"/>
              <a:t>Click to edit Master title style</a:t>
            </a:r>
          </a:p>
        </p:txBody>
      </p:sp>
      <p:sp>
        <p:nvSpPr>
          <p:cNvPr id="6" name="Date Placeholder 3"/>
          <p:cNvSpPr>
            <a:spLocks noGrp="1"/>
          </p:cNvSpPr>
          <p:nvPr>
            <p:ph type="dt" sz="half" idx="10"/>
          </p:nvPr>
        </p:nvSpPr>
        <p:spPr>
          <a:xfrm>
            <a:off x="0" y="6565898"/>
            <a:ext cx="1747837" cy="365125"/>
          </a:xfrm>
          <a:prstGeom prst="rect">
            <a:avLst/>
          </a:prstGeom>
        </p:spPr>
        <p:txBody>
          <a:bodyPr anchor="ctr"/>
          <a:lstStyle>
            <a:lvl1pPr eaLnBrk="1" fontAlgn="auto" hangingPunct="1">
              <a:spcBef>
                <a:spcPts val="0"/>
              </a:spcBef>
              <a:spcAft>
                <a:spcPts val="0"/>
              </a:spcAft>
              <a:defRPr sz="750" b="0" smtClean="0">
                <a:solidFill>
                  <a:srgbClr val="DDDDDD"/>
                </a:solidFill>
                <a:latin typeface="Calibri" panose="020F0502020204030204" pitchFamily="34" charset="0"/>
                <a:cs typeface="Calibri" panose="020F0502020204030204" pitchFamily="34" charset="0"/>
              </a:defRPr>
            </a:lvl1pPr>
          </a:lstStyle>
          <a:p>
            <a:pPr>
              <a:defRPr/>
            </a:pPr>
            <a:endParaRPr lang="en-US" dirty="0"/>
          </a:p>
        </p:txBody>
      </p:sp>
    </p:spTree>
    <p:extLst>
      <p:ext uri="{BB962C8B-B14F-4D97-AF65-F5344CB8AC3E}">
        <p14:creationId xmlns:p14="http://schemas.microsoft.com/office/powerpoint/2010/main" val="34081333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Option 3">
    <p:spTree>
      <p:nvGrpSpPr>
        <p:cNvPr id="1" name=""/>
        <p:cNvGrpSpPr/>
        <p:nvPr/>
      </p:nvGrpSpPr>
      <p:grpSpPr>
        <a:xfrm>
          <a:off x="0" y="0"/>
          <a:ext cx="0" cy="0"/>
          <a:chOff x="0" y="0"/>
          <a:chExt cx="0" cy="0"/>
        </a:xfrm>
      </p:grpSpPr>
      <p:sp>
        <p:nvSpPr>
          <p:cNvPr id="10" name="Text Placeholder 20"/>
          <p:cNvSpPr>
            <a:spLocks noGrp="1"/>
          </p:cNvSpPr>
          <p:nvPr>
            <p:ph type="body" sz="quarter" idx="10"/>
          </p:nvPr>
        </p:nvSpPr>
        <p:spPr>
          <a:xfrm>
            <a:off x="457200" y="4026648"/>
            <a:ext cx="8229600" cy="894255"/>
          </a:xfrm>
        </p:spPr>
        <p:txBody>
          <a:bodyPr anchor="t" anchorCtr="0"/>
          <a:lstStyle>
            <a:lvl1pPr marL="0" indent="0" algn="ctr">
              <a:spcBef>
                <a:spcPts val="0"/>
              </a:spcBef>
              <a:buNone/>
              <a:defRPr sz="3200" cap="none" baseline="0">
                <a:solidFill>
                  <a:schemeClr val="accent1"/>
                </a:solidFill>
                <a:latin typeface="+mn-lt"/>
              </a:defRPr>
            </a:lvl1pPr>
          </a:lstStyle>
          <a:p>
            <a:pPr lvl="0"/>
            <a:r>
              <a:rPr lang="en-US" dirty="0"/>
              <a:t>Edit Master text styles</a:t>
            </a:r>
          </a:p>
        </p:txBody>
      </p:sp>
      <p:pic>
        <p:nvPicPr>
          <p:cNvPr id="7" name="Picture 6">
            <a:extLst>
              <a:ext uri="{FF2B5EF4-FFF2-40B4-BE49-F238E27FC236}">
                <a16:creationId xmlns:a16="http://schemas.microsoft.com/office/drawing/2014/main" id="{7969D1DE-492B-4CF6-94E0-3815E1309A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309382"/>
            <a:ext cx="1233447" cy="734482"/>
          </a:xfrm>
          <a:prstGeom prst="rect">
            <a:avLst/>
          </a:prstGeom>
        </p:spPr>
      </p:pic>
      <p:pic>
        <p:nvPicPr>
          <p:cNvPr id="11" name="Picture 2" descr="http://www.applieddatafinance.com/media/images/adf-logo.jpg">
            <a:extLst>
              <a:ext uri="{FF2B5EF4-FFF2-40B4-BE49-F238E27FC236}">
                <a16:creationId xmlns:a16="http://schemas.microsoft.com/office/drawing/2014/main" id="{DFC7305C-DECC-4131-A498-E05FA9AC8A3A}"/>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6478" t="5089" r="6478" b="4015"/>
          <a:stretch/>
        </p:blipFill>
        <p:spPr bwMode="auto">
          <a:xfrm>
            <a:off x="2037679" y="1704875"/>
            <a:ext cx="4586042" cy="131473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B3CE44D3-47F6-4C83-B219-BB12732D9B75}"/>
              </a:ext>
            </a:extLst>
          </p:cNvPr>
          <p:cNvSpPr/>
          <p:nvPr userDrawn="1"/>
        </p:nvSpPr>
        <p:spPr>
          <a:xfrm>
            <a:off x="0" y="6553241"/>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US" sz="800" dirty="0"/>
          </a:p>
        </p:txBody>
      </p:sp>
      <p:sp>
        <p:nvSpPr>
          <p:cNvPr id="14" name="TextBox 13">
            <a:extLst>
              <a:ext uri="{FF2B5EF4-FFF2-40B4-BE49-F238E27FC236}">
                <a16:creationId xmlns:a16="http://schemas.microsoft.com/office/drawing/2014/main" id="{490AD3CB-9270-4DEF-914A-F4C5F52D66E3}"/>
              </a:ext>
            </a:extLst>
          </p:cNvPr>
          <p:cNvSpPr txBox="1"/>
          <p:nvPr userDrawn="1"/>
        </p:nvSpPr>
        <p:spPr>
          <a:xfrm>
            <a:off x="7088187" y="6609969"/>
            <a:ext cx="1922463" cy="191262"/>
          </a:xfrm>
          <a:prstGeom prst="rect">
            <a:avLst/>
          </a:prstGeom>
          <a:noFill/>
        </p:spPr>
        <p:txBody>
          <a:bodyPr wrap="square" lIns="0" tIns="0" rIns="0" bIns="0" rtlCol="0" anchor="ctr">
            <a:noAutofit/>
          </a:bodyPr>
          <a:lstStyle/>
          <a:p>
            <a:pPr algn="r"/>
            <a:r>
              <a:rPr lang="en-US" sz="800" dirty="0">
                <a:solidFill>
                  <a:schemeClr val="bg1"/>
                </a:solidFill>
              </a:rPr>
              <a:t>Proprietary and Confidential</a:t>
            </a:r>
          </a:p>
        </p:txBody>
      </p:sp>
    </p:spTree>
    <p:extLst>
      <p:ext uri="{BB962C8B-B14F-4D97-AF65-F5344CB8AC3E}">
        <p14:creationId xmlns:p14="http://schemas.microsoft.com/office/powerpoint/2010/main" val="622980153"/>
      </p:ext>
    </p:extLst>
  </p:cSld>
  <p:clrMapOvr>
    <a:masterClrMapping/>
  </p:clrMapOvr>
  <p:extLst>
    <p:ext uri="{DCECCB84-F9BA-43D5-87BE-67443E8EF086}">
      <p15:sldGuideLst xmlns:p15="http://schemas.microsoft.com/office/powerpoint/2012/main">
        <p15:guide id="1" pos="288">
          <p15:clr>
            <a:srgbClr val="FBAE40"/>
          </p15:clr>
        </p15:guide>
        <p15:guide id="2" pos="547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emplate Option 3">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017014"/>
            <a:ext cx="8686799" cy="248547"/>
          </a:xfrm>
        </p:spPr>
        <p:txBody>
          <a:bodyPr lIns="0" tIns="0" rIns="0" bIns="0" anchor="b" anchorCtr="0"/>
          <a:lstStyle>
            <a:lvl1pPr marL="0" indent="0" algn="l">
              <a:spcBef>
                <a:spcPts val="0"/>
              </a:spcBef>
              <a:buNone/>
              <a:defRPr sz="9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2">
            <a:extLst>
              <a:ext uri="{FF2B5EF4-FFF2-40B4-BE49-F238E27FC236}">
                <a16:creationId xmlns:a16="http://schemas.microsoft.com/office/drawing/2014/main" id="{8608C1AF-2A94-41C3-A779-EAF0778338CA}"/>
              </a:ext>
            </a:extLst>
          </p:cNvPr>
          <p:cNvSpPr>
            <a:spLocks noGrp="1"/>
          </p:cNvSpPr>
          <p:nvPr>
            <p:ph type="title"/>
          </p:nvPr>
        </p:nvSpPr>
        <p:spPr>
          <a:xfrm>
            <a:off x="228601" y="304801"/>
            <a:ext cx="8686799" cy="361949"/>
          </a:xfrm>
        </p:spPr>
        <p:txBody>
          <a:bodyPr anchor="t"/>
          <a:lstStyle>
            <a:lvl1pPr>
              <a:defRPr sz="2400" cap="none" baseline="0">
                <a:solidFill>
                  <a:schemeClr val="tx2"/>
                </a:solidFill>
                <a:latin typeface="+mj-lt"/>
              </a:defRPr>
            </a:lvl1pPr>
          </a:lstStyle>
          <a:p>
            <a:r>
              <a:rPr lang="en-US" dirty="0"/>
              <a:t>Click to edit Master title style</a:t>
            </a:r>
          </a:p>
        </p:txBody>
      </p:sp>
      <p:sp>
        <p:nvSpPr>
          <p:cNvPr id="14" name="Text Placeholder 3">
            <a:extLst>
              <a:ext uri="{FF2B5EF4-FFF2-40B4-BE49-F238E27FC236}">
                <a16:creationId xmlns:a16="http://schemas.microsoft.com/office/drawing/2014/main" id="{2D405AE8-D7C1-403E-950C-45834FF8B6CF}"/>
              </a:ext>
            </a:extLst>
          </p:cNvPr>
          <p:cNvSpPr>
            <a:spLocks noGrp="1"/>
          </p:cNvSpPr>
          <p:nvPr>
            <p:ph type="body" sz="quarter" idx="12" hasCustomPrompt="1"/>
          </p:nvPr>
        </p:nvSpPr>
        <p:spPr>
          <a:xfrm>
            <a:off x="228600" y="714375"/>
            <a:ext cx="8686800" cy="276225"/>
          </a:xfrm>
        </p:spPr>
        <p:txBody>
          <a:bodyPr anchor="t"/>
          <a:lstStyle>
            <a:lvl1pPr marL="0" indent="0">
              <a:buNone/>
              <a:defRPr sz="1800" b="0">
                <a:solidFill>
                  <a:schemeClr val="accent1"/>
                </a:solidFill>
              </a:defRPr>
            </a:lvl1pPr>
          </a:lstStyle>
          <a:p>
            <a:pPr lvl="0"/>
            <a:r>
              <a:rPr lang="en-US" dirty="0"/>
              <a:t>Subtitle</a:t>
            </a:r>
          </a:p>
        </p:txBody>
      </p:sp>
      <p:sp>
        <p:nvSpPr>
          <p:cNvPr id="11" name="Rectangle 10">
            <a:extLst>
              <a:ext uri="{FF2B5EF4-FFF2-40B4-BE49-F238E27FC236}">
                <a16:creationId xmlns:a16="http://schemas.microsoft.com/office/drawing/2014/main" id="{0734F346-4D42-4972-B8C6-1ECBF2A72886}"/>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521E9EFA-5B31-4874-B4B0-D96AD8930AE4}"/>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20" name="TextBox 19">
            <a:extLst>
              <a:ext uri="{FF2B5EF4-FFF2-40B4-BE49-F238E27FC236}">
                <a16:creationId xmlns:a16="http://schemas.microsoft.com/office/drawing/2014/main" id="{9D65390D-BDE3-4E8B-A276-558103BF6A88}"/>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21" name="Straight Connector 20">
            <a:extLst>
              <a:ext uri="{FF2B5EF4-FFF2-40B4-BE49-F238E27FC236}">
                <a16:creationId xmlns:a16="http://schemas.microsoft.com/office/drawing/2014/main" id="{970AB030-BDD1-400A-8C11-152C6CE0A02E}"/>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Picture 2" descr="http://www.applieddatafinance.com/media/images/adf-logo.jpg">
            <a:extLst>
              <a:ext uri="{FF2B5EF4-FFF2-40B4-BE49-F238E27FC236}">
                <a16:creationId xmlns:a16="http://schemas.microsoft.com/office/drawing/2014/main" id="{64553416-CBE0-4216-800C-FE568FDD8D9E}"/>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5116" t="4281" r="5066" b="1525"/>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4637518"/>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Template Option 3">
    <p:spTree>
      <p:nvGrpSpPr>
        <p:cNvPr id="1" name=""/>
        <p:cNvGrpSpPr/>
        <p:nvPr/>
      </p:nvGrpSpPr>
      <p:grpSpPr>
        <a:xfrm>
          <a:off x="0" y="0"/>
          <a:ext cx="0" cy="0"/>
          <a:chOff x="0" y="0"/>
          <a:chExt cx="0" cy="0"/>
        </a:xfrm>
      </p:grpSpPr>
      <p:sp>
        <p:nvSpPr>
          <p:cNvPr id="3" name="Title 2"/>
          <p:cNvSpPr>
            <a:spLocks noGrp="1"/>
          </p:cNvSpPr>
          <p:nvPr>
            <p:ph type="title"/>
          </p:nvPr>
        </p:nvSpPr>
        <p:spPr>
          <a:xfrm>
            <a:off x="228601" y="304801"/>
            <a:ext cx="8686799" cy="685800"/>
          </a:xfrm>
        </p:spPr>
        <p:txBody>
          <a:bodyPr anchor="t"/>
          <a:lstStyle>
            <a:lvl1pPr>
              <a:defRPr sz="2400" cap="none" baseline="0">
                <a:solidFill>
                  <a:schemeClr val="tx2"/>
                </a:solidFill>
                <a:latin typeface="+mj-lt"/>
              </a:defRPr>
            </a:lvl1pPr>
          </a:lstStyle>
          <a:p>
            <a:r>
              <a:rPr lang="en-US" dirty="0"/>
              <a:t>Click to edit Master title style</a:t>
            </a:r>
          </a:p>
        </p:txBody>
      </p:sp>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019799"/>
            <a:ext cx="8686799" cy="248547"/>
          </a:xfrm>
        </p:spPr>
        <p:txBody>
          <a:bodyPr lIns="0" tIns="0" rIns="0" bIns="0" anchor="b" anchorCtr="0"/>
          <a:lstStyle>
            <a:lvl1pPr marL="0" indent="0" algn="l">
              <a:spcBef>
                <a:spcPts val="0"/>
              </a:spcBef>
              <a:buNone/>
              <a:defRPr sz="9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a:extLst>
              <a:ext uri="{FF2B5EF4-FFF2-40B4-BE49-F238E27FC236}">
                <a16:creationId xmlns:a16="http://schemas.microsoft.com/office/drawing/2014/main" id="{538E19AA-F9B3-46E3-AE06-FAC87313983A}"/>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9F9EE8CF-1753-4273-965A-52DC6D5DF350}"/>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18" name="TextBox 17">
            <a:extLst>
              <a:ext uri="{FF2B5EF4-FFF2-40B4-BE49-F238E27FC236}">
                <a16:creationId xmlns:a16="http://schemas.microsoft.com/office/drawing/2014/main" id="{265070AE-06B9-4196-9170-9E1CDE25AE8A}"/>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19" name="Straight Connector 18">
            <a:extLst>
              <a:ext uri="{FF2B5EF4-FFF2-40B4-BE49-F238E27FC236}">
                <a16:creationId xmlns:a16="http://schemas.microsoft.com/office/drawing/2014/main" id="{19F73B8C-86CD-4153-B2A9-C750B4DD532F}"/>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Picture 2" descr="http://www.applieddatafinance.com/media/images/adf-logo.jpg">
            <a:extLst>
              <a:ext uri="{FF2B5EF4-FFF2-40B4-BE49-F238E27FC236}">
                <a16:creationId xmlns:a16="http://schemas.microsoft.com/office/drawing/2014/main" id="{24F66632-A073-481A-BEAF-3603AA702B24}"/>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5116" t="4281" r="5066" b="1525"/>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958892"/>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Template Option 3">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017014"/>
            <a:ext cx="8686799" cy="248547"/>
          </a:xfrm>
        </p:spPr>
        <p:txBody>
          <a:bodyPr lIns="0" tIns="0" rIns="0" bIns="0" anchor="b" anchorCtr="0"/>
          <a:lstStyle>
            <a:lvl1pPr marL="0" indent="0" algn="l">
              <a:spcBef>
                <a:spcPts val="0"/>
              </a:spcBef>
              <a:buNone/>
              <a:defRPr sz="9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2">
            <a:extLst>
              <a:ext uri="{FF2B5EF4-FFF2-40B4-BE49-F238E27FC236}">
                <a16:creationId xmlns:a16="http://schemas.microsoft.com/office/drawing/2014/main" id="{8608C1AF-2A94-41C3-A779-EAF0778338CA}"/>
              </a:ext>
            </a:extLst>
          </p:cNvPr>
          <p:cNvSpPr>
            <a:spLocks noGrp="1"/>
          </p:cNvSpPr>
          <p:nvPr>
            <p:ph type="title"/>
          </p:nvPr>
        </p:nvSpPr>
        <p:spPr>
          <a:xfrm>
            <a:off x="228601" y="304801"/>
            <a:ext cx="8686799" cy="361949"/>
          </a:xfrm>
        </p:spPr>
        <p:txBody>
          <a:bodyPr anchor="t"/>
          <a:lstStyle>
            <a:lvl1pPr>
              <a:defRPr sz="2400" cap="none" baseline="0">
                <a:solidFill>
                  <a:schemeClr val="tx2"/>
                </a:solidFill>
                <a:latin typeface="+mj-lt"/>
              </a:defRPr>
            </a:lvl1pPr>
          </a:lstStyle>
          <a:p>
            <a:r>
              <a:rPr lang="en-US" dirty="0"/>
              <a:t>Click to edit Master title style</a:t>
            </a:r>
          </a:p>
        </p:txBody>
      </p:sp>
      <p:sp>
        <p:nvSpPr>
          <p:cNvPr id="14" name="Text Placeholder 3">
            <a:extLst>
              <a:ext uri="{FF2B5EF4-FFF2-40B4-BE49-F238E27FC236}">
                <a16:creationId xmlns:a16="http://schemas.microsoft.com/office/drawing/2014/main" id="{2D405AE8-D7C1-403E-950C-45834FF8B6CF}"/>
              </a:ext>
            </a:extLst>
          </p:cNvPr>
          <p:cNvSpPr>
            <a:spLocks noGrp="1"/>
          </p:cNvSpPr>
          <p:nvPr>
            <p:ph type="body" sz="quarter" idx="12" hasCustomPrompt="1"/>
          </p:nvPr>
        </p:nvSpPr>
        <p:spPr>
          <a:xfrm>
            <a:off x="228600" y="714375"/>
            <a:ext cx="8686800" cy="276225"/>
          </a:xfrm>
        </p:spPr>
        <p:txBody>
          <a:bodyPr anchor="t"/>
          <a:lstStyle>
            <a:lvl1pPr marL="0" indent="0">
              <a:buNone/>
              <a:defRPr sz="1800" b="0">
                <a:solidFill>
                  <a:schemeClr val="accent1"/>
                </a:solidFill>
              </a:defRPr>
            </a:lvl1pPr>
          </a:lstStyle>
          <a:p>
            <a:pPr lvl="0"/>
            <a:r>
              <a:rPr lang="en-US" dirty="0"/>
              <a:t>Subtitle</a:t>
            </a:r>
          </a:p>
        </p:txBody>
      </p:sp>
      <p:sp>
        <p:nvSpPr>
          <p:cNvPr id="11" name="Rectangle 10">
            <a:extLst>
              <a:ext uri="{FF2B5EF4-FFF2-40B4-BE49-F238E27FC236}">
                <a16:creationId xmlns:a16="http://schemas.microsoft.com/office/drawing/2014/main" id="{0734F346-4D42-4972-B8C6-1ECBF2A72886}"/>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521E9EFA-5B31-4874-B4B0-D96AD8930AE4}"/>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20" name="TextBox 19">
            <a:extLst>
              <a:ext uri="{FF2B5EF4-FFF2-40B4-BE49-F238E27FC236}">
                <a16:creationId xmlns:a16="http://schemas.microsoft.com/office/drawing/2014/main" id="{9D65390D-BDE3-4E8B-A276-558103BF6A88}"/>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21" name="Straight Connector 20">
            <a:extLst>
              <a:ext uri="{FF2B5EF4-FFF2-40B4-BE49-F238E27FC236}">
                <a16:creationId xmlns:a16="http://schemas.microsoft.com/office/drawing/2014/main" id="{970AB030-BDD1-400A-8C11-152C6CE0A02E}"/>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Picture 2" descr="http://www.applieddatafinance.com/media/images/adf-logo.jpg">
            <a:extLst>
              <a:ext uri="{FF2B5EF4-FFF2-40B4-BE49-F238E27FC236}">
                <a16:creationId xmlns:a16="http://schemas.microsoft.com/office/drawing/2014/main" id="{64553416-CBE0-4216-800C-FE568FDD8D9E}"/>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5116" t="4281" r="5066" b="1525"/>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9096589"/>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Title Option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E96EE0B-7828-4B9B-A4B9-6BC00283B15D}"/>
              </a:ext>
            </a:extLst>
          </p:cNvPr>
          <p:cNvPicPr>
            <a:picLocks noChangeAspect="1"/>
          </p:cNvPicPr>
          <p:nvPr userDrawn="1"/>
        </p:nvPicPr>
        <p:blipFill>
          <a:blip r:embed="rId2"/>
          <a:stretch>
            <a:fillRect/>
          </a:stretch>
        </p:blipFill>
        <p:spPr>
          <a:xfrm>
            <a:off x="457199" y="2267771"/>
            <a:ext cx="5168901" cy="464886"/>
          </a:xfrm>
          <a:prstGeom prst="rect">
            <a:avLst/>
          </a:prstGeom>
        </p:spPr>
      </p:pic>
      <p:sp>
        <p:nvSpPr>
          <p:cNvPr id="10" name="Text Placeholder 20"/>
          <p:cNvSpPr>
            <a:spLocks noGrp="1"/>
          </p:cNvSpPr>
          <p:nvPr>
            <p:ph type="body" sz="quarter" idx="10"/>
          </p:nvPr>
        </p:nvSpPr>
        <p:spPr>
          <a:xfrm>
            <a:off x="457200" y="3186465"/>
            <a:ext cx="8229600" cy="894255"/>
          </a:xfrm>
        </p:spPr>
        <p:txBody>
          <a:bodyPr anchor="t" anchorCtr="0"/>
          <a:lstStyle>
            <a:lvl1pPr marL="0" indent="0" algn="l">
              <a:spcBef>
                <a:spcPts val="0"/>
              </a:spcBef>
              <a:buNone/>
              <a:defRPr sz="4000" cap="none" baseline="0">
                <a:solidFill>
                  <a:schemeClr val="accent1"/>
                </a:solidFill>
                <a:latin typeface="+mn-lt"/>
              </a:defRPr>
            </a:lvl1pPr>
          </a:lstStyle>
          <a:p>
            <a:pPr lvl="0"/>
            <a:r>
              <a:rPr lang="en-US" dirty="0"/>
              <a:t>Edit Master text styles</a:t>
            </a:r>
          </a:p>
        </p:txBody>
      </p:sp>
      <p:pic>
        <p:nvPicPr>
          <p:cNvPr id="7" name="Picture 6">
            <a:extLst>
              <a:ext uri="{FF2B5EF4-FFF2-40B4-BE49-F238E27FC236}">
                <a16:creationId xmlns:a16="http://schemas.microsoft.com/office/drawing/2014/main" id="{7969D1DE-492B-4CF6-94E0-3815E1309A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73808" y="2019300"/>
            <a:ext cx="1136274" cy="676618"/>
          </a:xfrm>
          <a:prstGeom prst="rect">
            <a:avLst/>
          </a:prstGeom>
        </p:spPr>
      </p:pic>
      <p:cxnSp>
        <p:nvCxnSpPr>
          <p:cNvPr id="3" name="Straight Connector 2">
            <a:extLst>
              <a:ext uri="{FF2B5EF4-FFF2-40B4-BE49-F238E27FC236}">
                <a16:creationId xmlns:a16="http://schemas.microsoft.com/office/drawing/2014/main" id="{FDDC0263-7201-4BF5-8FBB-5BE920C5521C}"/>
              </a:ext>
            </a:extLst>
          </p:cNvPr>
          <p:cNvCxnSpPr/>
          <p:nvPr userDrawn="1"/>
        </p:nvCxnSpPr>
        <p:spPr>
          <a:xfrm>
            <a:off x="457200" y="2989943"/>
            <a:ext cx="8229600" cy="0"/>
          </a:xfrm>
          <a:prstGeom prst="line">
            <a:avLst/>
          </a:prstGeom>
          <a:ln w="38100">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223B926-EC44-4838-9A55-ECC50BB5BEFC}"/>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C5B60A06-9632-4B11-9F24-EA9D7DB24472}"/>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14" name="TextBox 13">
            <a:extLst>
              <a:ext uri="{FF2B5EF4-FFF2-40B4-BE49-F238E27FC236}">
                <a16:creationId xmlns:a16="http://schemas.microsoft.com/office/drawing/2014/main" id="{D013E8AF-040A-402A-A860-176ABB64479B}"/>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15" name="Straight Connector 14">
            <a:extLst>
              <a:ext uri="{FF2B5EF4-FFF2-40B4-BE49-F238E27FC236}">
                <a16:creationId xmlns:a16="http://schemas.microsoft.com/office/drawing/2014/main" id="{D6EFEDB2-DA71-4A52-8EAD-5331ECED2C6D}"/>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8076300"/>
      </p:ext>
    </p:extLst>
  </p:cSld>
  <p:clrMapOvr>
    <a:masterClrMapping/>
  </p:clrMapOvr>
  <p:extLst>
    <p:ext uri="{DCECCB84-F9BA-43D5-87BE-67443E8EF086}">
      <p15:sldGuideLst xmlns:p15="http://schemas.microsoft.com/office/powerpoint/2012/main">
        <p15:guide id="1" pos="288">
          <p15:clr>
            <a:srgbClr val="FBAE40"/>
          </p15:clr>
        </p15:guide>
        <p15:guide id="2" pos="547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No Subhead Bulle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CF55EF-4A97-4375-B337-1970E6DAB0E0}"/>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5" name="TextBox 4"/>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6" name="TextBox 5"/>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sp>
        <p:nvSpPr>
          <p:cNvPr id="3" name="Title 2"/>
          <p:cNvSpPr>
            <a:spLocks noGrp="1"/>
          </p:cNvSpPr>
          <p:nvPr>
            <p:ph type="title"/>
          </p:nvPr>
        </p:nvSpPr>
        <p:spPr>
          <a:xfrm>
            <a:off x="228601" y="304801"/>
            <a:ext cx="8686799" cy="685800"/>
          </a:xfrm>
        </p:spPr>
        <p:txBody>
          <a:bodyPr anchor="t"/>
          <a:lstStyle>
            <a:lvl1pPr>
              <a:defRPr sz="2400" cap="none" baseline="0">
                <a:solidFill>
                  <a:schemeClr val="tx2"/>
                </a:solidFill>
                <a:latin typeface="+mj-lt"/>
              </a:defRPr>
            </a:lvl1pPr>
          </a:lstStyle>
          <a:p>
            <a:r>
              <a:rPr lang="en-US" dirty="0"/>
              <a:t>Click to edit Master title style</a:t>
            </a:r>
          </a:p>
        </p:txBody>
      </p:sp>
      <p:cxnSp>
        <p:nvCxnSpPr>
          <p:cNvPr id="26" name="Straight Connector 25">
            <a:extLst>
              <a:ext uri="{FF2B5EF4-FFF2-40B4-BE49-F238E27FC236}">
                <a16:creationId xmlns:a16="http://schemas.microsoft.com/office/drawing/2014/main" id="{603F8ADC-BC1B-40F2-9881-54C2F8F508D1}"/>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241151"/>
            <a:ext cx="7340599" cy="248547"/>
          </a:xfrm>
        </p:spPr>
        <p:txBody>
          <a:bodyPr lIns="0" tIns="0" rIns="0" bIns="0" anchor="b" anchorCtr="0"/>
          <a:lstStyle>
            <a:lvl1pPr marL="0" indent="0" algn="l">
              <a:spcBef>
                <a:spcPts val="0"/>
              </a:spcBef>
              <a:buNone/>
              <a:defRPr sz="8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2" descr="http://www.applieddatafinance.com/media/images/adf-logo.jpg">
            <a:extLst>
              <a:ext uri="{FF2B5EF4-FFF2-40B4-BE49-F238E27FC236}">
                <a16:creationId xmlns:a16="http://schemas.microsoft.com/office/drawing/2014/main" id="{AD8B8ABB-2AB3-48FC-950B-ADDDF2497C76}"/>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8707231"/>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12DAA6-C83B-41A5-B133-22A2209A3F8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11" name="Object 10" hidden="1">
                        <a:extLst>
                          <a:ext uri="{FF2B5EF4-FFF2-40B4-BE49-F238E27FC236}">
                            <a16:creationId xmlns:a16="http://schemas.microsoft.com/office/drawing/2014/main" id="{7912DAA6-C83B-41A5-B133-22A2209A3F8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6BBE4F4-E0E7-4517-A6BE-75BC45E4A88C}"/>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pic>
        <p:nvPicPr>
          <p:cNvPr id="4" name="Picture 2" descr="http://www.applieddatafinance.com/media/images/adf-logo.jpg">
            <a:extLst>
              <a:ext uri="{FF2B5EF4-FFF2-40B4-BE49-F238E27FC236}">
                <a16:creationId xmlns:a16="http://schemas.microsoft.com/office/drawing/2014/main" id="{FD7DC616-BE78-49D2-B3AF-3AE28B67920B}"/>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3E169B6-6249-43F5-AB1C-780B6B8504C3}"/>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6" name="TextBox 5">
            <a:extLst>
              <a:ext uri="{FF2B5EF4-FFF2-40B4-BE49-F238E27FC236}">
                <a16:creationId xmlns:a16="http://schemas.microsoft.com/office/drawing/2014/main" id="{6C9AE586-74AC-4E84-88B9-D689BA356AA7}"/>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7" name="Straight Connector 6">
            <a:extLst>
              <a:ext uri="{FF2B5EF4-FFF2-40B4-BE49-F238E27FC236}">
                <a16:creationId xmlns:a16="http://schemas.microsoft.com/office/drawing/2014/main" id="{5D47B8A2-1477-4259-9408-3A49F39D5AC7}"/>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itle 2">
            <a:extLst>
              <a:ext uri="{FF2B5EF4-FFF2-40B4-BE49-F238E27FC236}">
                <a16:creationId xmlns:a16="http://schemas.microsoft.com/office/drawing/2014/main" id="{EF206BBB-6542-4A5A-A5BA-D9C9D4F8BDA1}"/>
              </a:ext>
            </a:extLst>
          </p:cNvPr>
          <p:cNvSpPr>
            <a:spLocks noGrp="1"/>
          </p:cNvSpPr>
          <p:nvPr>
            <p:ph type="title"/>
          </p:nvPr>
        </p:nvSpPr>
        <p:spPr>
          <a:xfrm>
            <a:off x="228601" y="225425"/>
            <a:ext cx="8686799" cy="765176"/>
          </a:xfrm>
        </p:spPr>
        <p:txBody>
          <a:bodyPr anchor="t"/>
          <a:lstStyle>
            <a:lvl1pPr>
              <a:defRPr sz="2300" cap="none" baseline="0">
                <a:solidFill>
                  <a:schemeClr val="tx1">
                    <a:lumMod val="75000"/>
                    <a:lumOff val="25000"/>
                  </a:schemeClr>
                </a:solidFill>
                <a:latin typeface="+mn-lt"/>
              </a:defRPr>
            </a:lvl1pPr>
          </a:lstStyle>
          <a:p>
            <a:r>
              <a:rPr lang="en-US" dirty="0"/>
              <a:t>Click to edit Master title style</a:t>
            </a:r>
          </a:p>
        </p:txBody>
      </p:sp>
      <p:sp>
        <p:nvSpPr>
          <p:cNvPr id="10" name="Text Placeholder 29">
            <a:extLst>
              <a:ext uri="{FF2B5EF4-FFF2-40B4-BE49-F238E27FC236}">
                <a16:creationId xmlns:a16="http://schemas.microsoft.com/office/drawing/2014/main" id="{B2BC1EA4-10BF-4395-8FED-5DB500284F5B}"/>
              </a:ext>
            </a:extLst>
          </p:cNvPr>
          <p:cNvSpPr>
            <a:spLocks noGrp="1"/>
          </p:cNvSpPr>
          <p:nvPr>
            <p:ph type="body" sz="quarter" idx="10" hasCustomPrompt="1"/>
          </p:nvPr>
        </p:nvSpPr>
        <p:spPr>
          <a:xfrm>
            <a:off x="228601" y="6241151"/>
            <a:ext cx="7999809" cy="248547"/>
          </a:xfrm>
        </p:spPr>
        <p:txBody>
          <a:bodyPr lIns="0" tIns="0" rIns="0" bIns="0" anchor="b" anchorCtr="0"/>
          <a:lstStyle>
            <a:lvl1pPr marL="0" indent="0" algn="l">
              <a:spcBef>
                <a:spcPts val="0"/>
              </a:spcBef>
              <a:buNone/>
              <a:defRPr sz="8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Tree>
    <p:extLst>
      <p:ext uri="{BB962C8B-B14F-4D97-AF65-F5344CB8AC3E}">
        <p14:creationId xmlns:p14="http://schemas.microsoft.com/office/powerpoint/2010/main" val="615066214"/>
      </p:ext>
    </p:extLst>
  </p:cSld>
  <p:clrMapOvr>
    <a:masterClrMapping/>
  </p:clrMapOvr>
  <p:extLst>
    <p:ext uri="{DCECCB84-F9BA-43D5-87BE-67443E8EF086}">
      <p15:sldGuideLst xmlns:p15="http://schemas.microsoft.com/office/powerpoint/2012/main">
        <p15:guide id="2" orient="horz" pos="39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Option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E96EE0B-7828-4B9B-A4B9-6BC00283B15D}"/>
              </a:ext>
            </a:extLst>
          </p:cNvPr>
          <p:cNvPicPr>
            <a:picLocks noChangeAspect="1"/>
          </p:cNvPicPr>
          <p:nvPr userDrawn="1"/>
        </p:nvPicPr>
        <p:blipFill>
          <a:blip r:embed="rId2"/>
          <a:stretch>
            <a:fillRect/>
          </a:stretch>
        </p:blipFill>
        <p:spPr>
          <a:xfrm>
            <a:off x="457199" y="2267771"/>
            <a:ext cx="5168901" cy="464886"/>
          </a:xfrm>
          <a:prstGeom prst="rect">
            <a:avLst/>
          </a:prstGeom>
        </p:spPr>
      </p:pic>
      <p:sp>
        <p:nvSpPr>
          <p:cNvPr id="10" name="Text Placeholder 20"/>
          <p:cNvSpPr>
            <a:spLocks noGrp="1"/>
          </p:cNvSpPr>
          <p:nvPr>
            <p:ph type="body" sz="quarter" idx="10"/>
          </p:nvPr>
        </p:nvSpPr>
        <p:spPr>
          <a:xfrm>
            <a:off x="457200" y="3186465"/>
            <a:ext cx="8229600" cy="894255"/>
          </a:xfrm>
        </p:spPr>
        <p:txBody>
          <a:bodyPr anchor="t" anchorCtr="0"/>
          <a:lstStyle>
            <a:lvl1pPr marL="0" indent="0" algn="l">
              <a:spcBef>
                <a:spcPts val="0"/>
              </a:spcBef>
              <a:buNone/>
              <a:defRPr sz="4000" cap="none" baseline="0">
                <a:solidFill>
                  <a:schemeClr val="accent1"/>
                </a:solidFill>
                <a:latin typeface="+mn-lt"/>
              </a:defRPr>
            </a:lvl1pPr>
          </a:lstStyle>
          <a:p>
            <a:pPr lvl="0"/>
            <a:r>
              <a:rPr lang="en-US" dirty="0"/>
              <a:t>Edit Master text styles</a:t>
            </a:r>
          </a:p>
        </p:txBody>
      </p:sp>
      <p:pic>
        <p:nvPicPr>
          <p:cNvPr id="7" name="Picture 6">
            <a:extLst>
              <a:ext uri="{FF2B5EF4-FFF2-40B4-BE49-F238E27FC236}">
                <a16:creationId xmlns:a16="http://schemas.microsoft.com/office/drawing/2014/main" id="{7969D1DE-492B-4CF6-94E0-3815E1309A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73808" y="2019300"/>
            <a:ext cx="1136274" cy="676618"/>
          </a:xfrm>
          <a:prstGeom prst="rect">
            <a:avLst/>
          </a:prstGeom>
        </p:spPr>
      </p:pic>
      <p:cxnSp>
        <p:nvCxnSpPr>
          <p:cNvPr id="3" name="Straight Connector 2">
            <a:extLst>
              <a:ext uri="{FF2B5EF4-FFF2-40B4-BE49-F238E27FC236}">
                <a16:creationId xmlns:a16="http://schemas.microsoft.com/office/drawing/2014/main" id="{FDDC0263-7201-4BF5-8FBB-5BE920C5521C}"/>
              </a:ext>
            </a:extLst>
          </p:cNvPr>
          <p:cNvCxnSpPr/>
          <p:nvPr userDrawn="1"/>
        </p:nvCxnSpPr>
        <p:spPr>
          <a:xfrm>
            <a:off x="457200" y="2989943"/>
            <a:ext cx="8229600" cy="0"/>
          </a:xfrm>
          <a:prstGeom prst="line">
            <a:avLst/>
          </a:prstGeom>
          <a:ln w="38100">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223B926-EC44-4838-9A55-ECC50BB5BEFC}"/>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C5B60A06-9632-4B11-9F24-EA9D7DB24472}"/>
              </a:ext>
            </a:extLst>
          </p:cNvPr>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14" name="TextBox 13">
            <a:extLst>
              <a:ext uri="{FF2B5EF4-FFF2-40B4-BE49-F238E27FC236}">
                <a16:creationId xmlns:a16="http://schemas.microsoft.com/office/drawing/2014/main" id="{D013E8AF-040A-402A-A860-176ABB64479B}"/>
              </a:ext>
            </a:extLst>
          </p:cNvPr>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15" name="Straight Connector 14">
            <a:extLst>
              <a:ext uri="{FF2B5EF4-FFF2-40B4-BE49-F238E27FC236}">
                <a16:creationId xmlns:a16="http://schemas.microsoft.com/office/drawing/2014/main" id="{D6EFEDB2-DA71-4A52-8EAD-5331ECED2C6D}"/>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6068879"/>
      </p:ext>
    </p:extLst>
  </p:cSld>
  <p:clrMapOvr>
    <a:masterClrMapping/>
  </p:clrMapOvr>
  <p:extLst>
    <p:ext uri="{DCECCB84-F9BA-43D5-87BE-67443E8EF086}">
      <p15:sldGuideLst xmlns:p15="http://schemas.microsoft.com/office/powerpoint/2012/main">
        <p15:guide id="1" pos="288">
          <p15:clr>
            <a:srgbClr val="FBAE40"/>
          </p15:clr>
        </p15:guide>
        <p15:guide id="2" pos="54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3B3B3B"/>
                </a:solidFill>
                <a:latin typeface="Calibri Light"/>
                <a:cs typeface="Calibri Light"/>
              </a:defRPr>
            </a:lvl1pPr>
          </a:lstStyle>
          <a:p>
            <a:endParaRPr/>
          </a:p>
        </p:txBody>
      </p:sp>
      <p:sp>
        <p:nvSpPr>
          <p:cNvPr id="3" name="Holder 3"/>
          <p:cNvSpPr>
            <a:spLocks noGrp="1"/>
          </p:cNvSpPr>
          <p:nvPr>
            <p:ph type="body" idx="1"/>
          </p:nvPr>
        </p:nvSpPr>
        <p:spPr/>
        <p:txBody>
          <a:bodyPr lIns="0" tIns="0" rIns="0" bIns="0"/>
          <a:lstStyle>
            <a:lvl1pPr>
              <a:defRPr sz="1800" b="0" i="0">
                <a:solidFill>
                  <a:srgbClr val="4D4D4D"/>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defRPr sz="750" b="0" i="0">
                <a:solidFill>
                  <a:schemeClr val="bg1"/>
                </a:solidFill>
                <a:latin typeface="Calibri"/>
                <a:cs typeface="Calibri"/>
              </a:defRPr>
            </a:lvl1pPr>
          </a:lstStyle>
          <a:p>
            <a:pPr marL="12700">
              <a:lnSpc>
                <a:spcPts val="815"/>
              </a:lnSpc>
            </a:pPr>
            <a:r>
              <a:rPr spc="-20" dirty="0"/>
              <a:t>Proprietary  </a:t>
            </a:r>
            <a:r>
              <a:rPr spc="-5" dirty="0"/>
              <a:t>and</a:t>
            </a:r>
            <a:r>
              <a:rPr spc="-15" dirty="0"/>
              <a:t> Confidential</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6/2025</a:t>
            </a:fld>
            <a:endParaRPr lang="en-US" dirty="0"/>
          </a:p>
        </p:txBody>
      </p:sp>
      <p:sp>
        <p:nvSpPr>
          <p:cNvPr id="6" name="Holder 6"/>
          <p:cNvSpPr>
            <a:spLocks noGrp="1"/>
          </p:cNvSpPr>
          <p:nvPr>
            <p:ph type="sldNum" sz="quarter" idx="7"/>
          </p:nvPr>
        </p:nvSpPr>
        <p:spPr/>
        <p:txBody>
          <a:bodyPr lIns="0" tIns="0" rIns="0" bIns="0"/>
          <a:lstStyle>
            <a:lvl1pPr>
              <a:defRPr sz="750" b="0" i="0">
                <a:solidFill>
                  <a:schemeClr val="bg1"/>
                </a:solidFill>
                <a:latin typeface="Calibri"/>
                <a:cs typeface="Calibri"/>
              </a:defRPr>
            </a:lvl1pPr>
          </a:lstStyle>
          <a:p>
            <a:pPr marL="25400">
              <a:lnSpc>
                <a:spcPts val="815"/>
              </a:lnSpc>
            </a:pPr>
            <a:fld id="{81D60167-4931-47E6-BA6A-407CBD079E47}" type="slidenum">
              <a:rPr dirty="0"/>
              <a:t>‹#›</a:t>
            </a:fld>
            <a:endParaRPr dirty="0"/>
          </a:p>
        </p:txBody>
      </p:sp>
    </p:spTree>
    <p:extLst>
      <p:ext uri="{BB962C8B-B14F-4D97-AF65-F5344CB8AC3E}">
        <p14:creationId xmlns:p14="http://schemas.microsoft.com/office/powerpoint/2010/main" val="3507157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No Subhead Bulle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CF55EF-4A97-4375-B337-1970E6DAB0E0}"/>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5" name="TextBox 4"/>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6" name="TextBox 5"/>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sp>
        <p:nvSpPr>
          <p:cNvPr id="3" name="Title 2"/>
          <p:cNvSpPr>
            <a:spLocks noGrp="1"/>
          </p:cNvSpPr>
          <p:nvPr>
            <p:ph type="title"/>
          </p:nvPr>
        </p:nvSpPr>
        <p:spPr>
          <a:xfrm>
            <a:off x="228601" y="304801"/>
            <a:ext cx="8686799" cy="685800"/>
          </a:xfrm>
        </p:spPr>
        <p:txBody>
          <a:bodyPr anchor="t"/>
          <a:lstStyle>
            <a:lvl1pPr>
              <a:defRPr sz="2400" cap="none" baseline="0">
                <a:solidFill>
                  <a:schemeClr val="tx2"/>
                </a:solidFill>
                <a:latin typeface="+mj-lt"/>
              </a:defRPr>
            </a:lvl1pPr>
          </a:lstStyle>
          <a:p>
            <a:r>
              <a:rPr lang="en-US" dirty="0"/>
              <a:t>Click to edit Master title style</a:t>
            </a:r>
          </a:p>
        </p:txBody>
      </p:sp>
      <p:cxnSp>
        <p:nvCxnSpPr>
          <p:cNvPr id="26" name="Straight Connector 25">
            <a:extLst>
              <a:ext uri="{FF2B5EF4-FFF2-40B4-BE49-F238E27FC236}">
                <a16:creationId xmlns:a16="http://schemas.microsoft.com/office/drawing/2014/main" id="{603F8ADC-BC1B-40F2-9881-54C2F8F508D1}"/>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241151"/>
            <a:ext cx="7340599" cy="248547"/>
          </a:xfrm>
        </p:spPr>
        <p:txBody>
          <a:bodyPr lIns="0" tIns="0" rIns="0" bIns="0" anchor="b" anchorCtr="0"/>
          <a:lstStyle>
            <a:lvl1pPr marL="0" indent="0" algn="l">
              <a:spcBef>
                <a:spcPts val="0"/>
              </a:spcBef>
              <a:buNone/>
              <a:defRPr sz="8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2" descr="http://www.applieddatafinance.com/media/images/adf-logo.jpg">
            <a:extLst>
              <a:ext uri="{FF2B5EF4-FFF2-40B4-BE49-F238E27FC236}">
                <a16:creationId xmlns:a16="http://schemas.microsoft.com/office/drawing/2014/main" id="{AD8B8ABB-2AB3-48FC-950B-ADDDF2497C76}"/>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6369241"/>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5" name="Title 4"/>
          <p:cNvSpPr>
            <a:spLocks noGrp="1" noChangeAspect="1"/>
          </p:cNvSpPr>
          <p:nvPr>
            <p:ph type="title"/>
          </p:nvPr>
        </p:nvSpPr>
        <p:spPr>
          <a:xfrm>
            <a:off x="618031" y="230586"/>
            <a:ext cx="6314981" cy="424732"/>
          </a:xfrm>
        </p:spPr>
        <p:txBody>
          <a:bodyPr>
            <a:spAutoFit/>
          </a:bodyPr>
          <a:lstStyle>
            <a:lvl1pPr>
              <a:defRPr sz="2400" baseline="0">
                <a:solidFill>
                  <a:srgbClr val="4D4D4D"/>
                </a:solidFill>
                <a:latin typeface="Calibri Light" panose="020F0302020204030204" pitchFamily="34" charset="0"/>
                <a:cs typeface="Calibri Light" panose="020F0302020204030204" pitchFamily="34" charset="0"/>
              </a:defRPr>
            </a:lvl1pPr>
          </a:lstStyle>
          <a:p>
            <a:r>
              <a:rPr lang="en-US" dirty="0"/>
              <a:t>Click to edit Master title style</a:t>
            </a:r>
          </a:p>
        </p:txBody>
      </p:sp>
      <p:sp>
        <p:nvSpPr>
          <p:cNvPr id="6" name="Date Placeholder 3"/>
          <p:cNvSpPr>
            <a:spLocks noGrp="1"/>
          </p:cNvSpPr>
          <p:nvPr>
            <p:ph type="dt" sz="half" idx="10"/>
          </p:nvPr>
        </p:nvSpPr>
        <p:spPr>
          <a:xfrm>
            <a:off x="0" y="6565898"/>
            <a:ext cx="1747837" cy="365125"/>
          </a:xfrm>
          <a:prstGeom prst="rect">
            <a:avLst/>
          </a:prstGeom>
        </p:spPr>
        <p:txBody>
          <a:bodyPr anchor="ctr"/>
          <a:lstStyle>
            <a:lvl1pPr eaLnBrk="1" fontAlgn="auto" hangingPunct="1">
              <a:spcBef>
                <a:spcPts val="0"/>
              </a:spcBef>
              <a:spcAft>
                <a:spcPts val="0"/>
              </a:spcAft>
              <a:defRPr sz="750" b="0" smtClean="0">
                <a:solidFill>
                  <a:srgbClr val="DDDDDD"/>
                </a:solidFill>
                <a:latin typeface="Calibri" panose="020F0502020204030204" pitchFamily="34" charset="0"/>
                <a:cs typeface="Calibri" panose="020F0502020204030204" pitchFamily="34" charset="0"/>
              </a:defRPr>
            </a:lvl1pPr>
          </a:lstStyle>
          <a:p>
            <a:pPr>
              <a:defRPr/>
            </a:pPr>
            <a:endParaRPr lang="en-US" dirty="0"/>
          </a:p>
        </p:txBody>
      </p:sp>
    </p:spTree>
    <p:extLst>
      <p:ext uri="{BB962C8B-B14F-4D97-AF65-F5344CB8AC3E}">
        <p14:creationId xmlns:p14="http://schemas.microsoft.com/office/powerpoint/2010/main" val="10251157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Blue Subhead Bulle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CF55EF-4A97-4375-B337-1970E6DAB0E0}"/>
              </a:ext>
            </a:extLst>
          </p:cNvPr>
          <p:cNvSpPr/>
          <p:nvPr userDrawn="1"/>
        </p:nvSpPr>
        <p:spPr>
          <a:xfrm>
            <a:off x="0" y="6553200"/>
            <a:ext cx="9144000" cy="304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5" name="TextBox 4"/>
          <p:cNvSpPr txBox="1"/>
          <p:nvPr userDrawn="1"/>
        </p:nvSpPr>
        <p:spPr>
          <a:xfrm>
            <a:off x="8732520" y="6609969"/>
            <a:ext cx="182880" cy="191262"/>
          </a:xfrm>
          <a:prstGeom prst="rect">
            <a:avLst/>
          </a:prstGeom>
          <a:noFill/>
        </p:spPr>
        <p:txBody>
          <a:bodyPr wrap="square" lIns="0" tIns="0" rIns="0" bIns="0" rtlCol="0" anchor="ctr">
            <a:noAutofit/>
          </a:bodyPr>
          <a:lstStyle/>
          <a:p>
            <a:pPr algn="r"/>
            <a:fld id="{6E50C3A9-A1C5-42D9-B08B-06176D99F5D4}" type="slidenum">
              <a:rPr lang="en-US" sz="750" smtClean="0">
                <a:solidFill>
                  <a:schemeClr val="bg1"/>
                </a:solidFill>
              </a:rPr>
              <a:pPr algn="r"/>
              <a:t>‹#›</a:t>
            </a:fld>
            <a:endParaRPr lang="en-US" sz="750" dirty="0">
              <a:solidFill>
                <a:schemeClr val="bg1"/>
              </a:solidFill>
            </a:endParaRPr>
          </a:p>
        </p:txBody>
      </p:sp>
      <p:sp>
        <p:nvSpPr>
          <p:cNvPr id="6" name="TextBox 5"/>
          <p:cNvSpPr txBox="1"/>
          <p:nvPr userDrawn="1"/>
        </p:nvSpPr>
        <p:spPr>
          <a:xfrm>
            <a:off x="6676231" y="6609969"/>
            <a:ext cx="1922463" cy="191262"/>
          </a:xfrm>
          <a:prstGeom prst="rect">
            <a:avLst/>
          </a:prstGeom>
          <a:noFill/>
        </p:spPr>
        <p:txBody>
          <a:bodyPr wrap="square" lIns="0" tIns="0" rIns="0" bIns="0" rtlCol="0" anchor="ctr">
            <a:noAutofit/>
          </a:bodyPr>
          <a:lstStyle/>
          <a:p>
            <a:pPr algn="r"/>
            <a:r>
              <a:rPr lang="en-US" sz="750" dirty="0">
                <a:solidFill>
                  <a:schemeClr val="bg1"/>
                </a:solidFill>
              </a:rPr>
              <a:t>Proprietary and Confidential</a:t>
            </a:r>
          </a:p>
        </p:txBody>
      </p:sp>
      <p:cxnSp>
        <p:nvCxnSpPr>
          <p:cNvPr id="26" name="Straight Connector 25">
            <a:extLst>
              <a:ext uri="{FF2B5EF4-FFF2-40B4-BE49-F238E27FC236}">
                <a16:creationId xmlns:a16="http://schemas.microsoft.com/office/drawing/2014/main" id="{603F8ADC-BC1B-40F2-9881-54C2F8F508D1}"/>
              </a:ext>
            </a:extLst>
          </p:cNvPr>
          <p:cNvCxnSpPr>
            <a:cxnSpLocks/>
          </p:cNvCxnSpPr>
          <p:nvPr userDrawn="1"/>
        </p:nvCxnSpPr>
        <p:spPr>
          <a:xfrm>
            <a:off x="8708708" y="6632686"/>
            <a:ext cx="0" cy="1458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 Placeholder 29">
            <a:extLst>
              <a:ext uri="{FF2B5EF4-FFF2-40B4-BE49-F238E27FC236}">
                <a16:creationId xmlns:a16="http://schemas.microsoft.com/office/drawing/2014/main" id="{DF4E3CC3-D43D-40C7-AF54-13BE6E82B27A}"/>
              </a:ext>
            </a:extLst>
          </p:cNvPr>
          <p:cNvSpPr>
            <a:spLocks noGrp="1"/>
          </p:cNvSpPr>
          <p:nvPr>
            <p:ph type="body" sz="quarter" idx="10" hasCustomPrompt="1"/>
          </p:nvPr>
        </p:nvSpPr>
        <p:spPr>
          <a:xfrm>
            <a:off x="228601" y="6241151"/>
            <a:ext cx="7738532" cy="248547"/>
          </a:xfrm>
        </p:spPr>
        <p:txBody>
          <a:bodyPr lIns="0" tIns="0" rIns="0" bIns="0" anchor="b" anchorCtr="0"/>
          <a:lstStyle>
            <a:lvl1pPr marL="0" indent="0" algn="l">
              <a:spcBef>
                <a:spcPts val="0"/>
              </a:spcBef>
              <a:buNone/>
              <a:defRPr sz="800">
                <a:solidFill>
                  <a:schemeClr val="accent6">
                    <a:lumMod val="50000"/>
                  </a:schemeClr>
                </a:solidFill>
                <a:latin typeface="+mj-lt"/>
              </a:defRPr>
            </a:lvl1pPr>
            <a:lvl2pPr marL="205740" indent="0" algn="r">
              <a:buNone/>
              <a:defRPr/>
            </a:lvl2pPr>
            <a:lvl3pPr marL="411480" indent="0" algn="r">
              <a:buNone/>
              <a:defRPr/>
            </a:lvl3pPr>
            <a:lvl4pPr marL="617220" indent="0" algn="r">
              <a:buNone/>
              <a:defRPr/>
            </a:lvl4pPr>
            <a:lvl5pPr marL="822960" indent="0" algn="r">
              <a:buNone/>
              <a:defRPr/>
            </a:lvl5pPr>
          </a:lstStyle>
          <a:p>
            <a:pPr lvl="0"/>
            <a:r>
              <a:rPr lang="en-US" dirty="0"/>
              <a:t>Source Notes</a:t>
            </a:r>
          </a:p>
        </p:txBody>
      </p:sp>
      <p:sp>
        <p:nvSpPr>
          <p:cNvPr id="1024" name="Text Placeholder 1023">
            <a:extLst>
              <a:ext uri="{FF2B5EF4-FFF2-40B4-BE49-F238E27FC236}">
                <a16:creationId xmlns:a16="http://schemas.microsoft.com/office/drawing/2014/main" id="{70AA9E9A-AE90-4343-94B1-71BA62C8DD94}"/>
              </a:ext>
            </a:extLst>
          </p:cNvPr>
          <p:cNvSpPr>
            <a:spLocks noGrp="1"/>
          </p:cNvSpPr>
          <p:nvPr>
            <p:ph type="body" sz="quarter" idx="11"/>
          </p:nvPr>
        </p:nvSpPr>
        <p:spPr>
          <a:xfrm>
            <a:off x="228600" y="1104900"/>
            <a:ext cx="8686800" cy="4800600"/>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2" descr="http://www.applieddatafinance.com/media/images/adf-logo.jpg">
            <a:extLst>
              <a:ext uri="{FF2B5EF4-FFF2-40B4-BE49-F238E27FC236}">
                <a16:creationId xmlns:a16="http://schemas.microsoft.com/office/drawing/2014/main" id="{AD8B8ABB-2AB3-48FC-950B-ADDDF2497C76}"/>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8228410" y="6267205"/>
            <a:ext cx="731044" cy="210481"/>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8608C1AF-2A94-41C3-A779-EAF0778338CA}"/>
              </a:ext>
            </a:extLst>
          </p:cNvPr>
          <p:cNvSpPr>
            <a:spLocks noGrp="1"/>
          </p:cNvSpPr>
          <p:nvPr>
            <p:ph type="title"/>
          </p:nvPr>
        </p:nvSpPr>
        <p:spPr>
          <a:xfrm>
            <a:off x="228601" y="304801"/>
            <a:ext cx="8686799" cy="361949"/>
          </a:xfrm>
        </p:spPr>
        <p:txBody>
          <a:bodyPr anchor="t"/>
          <a:lstStyle>
            <a:lvl1pPr algn="l" defTabSz="685800" rtl="0" eaLnBrk="1" latinLnBrk="0" hangingPunct="1">
              <a:lnSpc>
                <a:spcPct val="90000"/>
              </a:lnSpc>
              <a:spcBef>
                <a:spcPct val="0"/>
              </a:spcBef>
              <a:buNone/>
              <a:defRPr lang="en-US" sz="2300" b="0" i="0" kern="1200" cap="none" baseline="0" dirty="0">
                <a:solidFill>
                  <a:schemeClr val="tx1">
                    <a:lumMod val="75000"/>
                    <a:lumOff val="25000"/>
                  </a:schemeClr>
                </a:solidFill>
                <a:latin typeface="+mn-lt"/>
                <a:ea typeface="+mj-ea"/>
                <a:cs typeface="+mj-cs"/>
              </a:defRPr>
            </a:lvl1pPr>
          </a:lstStyle>
          <a:p>
            <a:r>
              <a:rPr lang="en-US" dirty="0"/>
              <a:t>Click to edit Master title style</a:t>
            </a:r>
          </a:p>
        </p:txBody>
      </p:sp>
      <p:sp>
        <p:nvSpPr>
          <p:cNvPr id="14" name="Text Placeholder 3">
            <a:extLst>
              <a:ext uri="{FF2B5EF4-FFF2-40B4-BE49-F238E27FC236}">
                <a16:creationId xmlns:a16="http://schemas.microsoft.com/office/drawing/2014/main" id="{2D405AE8-D7C1-403E-950C-45834FF8B6CF}"/>
              </a:ext>
            </a:extLst>
          </p:cNvPr>
          <p:cNvSpPr>
            <a:spLocks noGrp="1"/>
          </p:cNvSpPr>
          <p:nvPr>
            <p:ph type="body" sz="quarter" idx="12" hasCustomPrompt="1"/>
          </p:nvPr>
        </p:nvSpPr>
        <p:spPr>
          <a:xfrm>
            <a:off x="228600" y="714375"/>
            <a:ext cx="8686800" cy="276225"/>
          </a:xfrm>
        </p:spPr>
        <p:txBody>
          <a:bodyPr anchor="t"/>
          <a:lstStyle>
            <a:lvl1pPr marL="0" indent="0">
              <a:buNone/>
              <a:defRPr sz="1800" b="0">
                <a:solidFill>
                  <a:schemeClr val="accent1"/>
                </a:solidFill>
              </a:defRPr>
            </a:lvl1pPr>
          </a:lstStyle>
          <a:p>
            <a:pPr lvl="0"/>
            <a:r>
              <a:rPr lang="en-US" dirty="0"/>
              <a:t>Subtitle</a:t>
            </a:r>
          </a:p>
        </p:txBody>
      </p:sp>
    </p:spTree>
    <p:extLst>
      <p:ext uri="{BB962C8B-B14F-4D97-AF65-F5344CB8AC3E}">
        <p14:creationId xmlns:p14="http://schemas.microsoft.com/office/powerpoint/2010/main" val="845246776"/>
      </p:ext>
    </p:extLst>
  </p:cSld>
  <p:clrMapOvr>
    <a:masterClrMapping/>
  </p:clrMapOvr>
  <p:extLst>
    <p:ext uri="{DCECCB84-F9BA-43D5-87BE-67443E8EF086}">
      <p15:sldGuideLst xmlns:p15="http://schemas.microsoft.com/office/powerpoint/2012/main">
        <p15:guide id="1" pos="144">
          <p15:clr>
            <a:srgbClr val="FBAE40"/>
          </p15:clr>
        </p15:guide>
        <p15:guide id="2" pos="5616">
          <p15:clr>
            <a:srgbClr val="FBAE40"/>
          </p15:clr>
        </p15:guide>
        <p15:guide id="3" orient="horz" pos="624">
          <p15:clr>
            <a:srgbClr val="FBAE40"/>
          </p15:clr>
        </p15:guide>
        <p15:guide id="4" orient="horz" pos="696">
          <p15:clr>
            <a:srgbClr val="FBAE40"/>
          </p15:clr>
        </p15:guide>
        <p15:guide id="5" orient="horz" pos="192">
          <p15:clr>
            <a:srgbClr val="FBAE40"/>
          </p15:clr>
        </p15:guide>
        <p15:guide id="6" orient="horz" pos="4008">
          <p15:clr>
            <a:srgbClr val="FBAE40"/>
          </p15:clr>
        </p15:guide>
        <p15:guide id="7" orient="horz" pos="3912">
          <p15:clr>
            <a:srgbClr val="FBAE40"/>
          </p15:clr>
        </p15:guide>
        <p15:guide id="8" orient="horz" pos="3720">
          <p15:clr>
            <a:srgbClr val="FBAE40"/>
          </p15:clr>
        </p15:guide>
        <p15:guide id="9" pos="2880">
          <p15:clr>
            <a:srgbClr val="FBAE40"/>
          </p15:clr>
        </p15:guide>
        <p15:guide id="10" pos="2952">
          <p15:clr>
            <a:srgbClr val="FBAE40"/>
          </p15:clr>
        </p15:guide>
        <p15:guide id="11" pos="280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01971452"/>
      </p:ext>
    </p:extLst>
  </p:cSld>
  <p:clrMapOvr>
    <a:masterClrMapping/>
  </p:clrMapOvr>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4.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228601" y="228601"/>
            <a:ext cx="7536543" cy="914399"/>
          </a:xfrm>
          <a:prstGeom prst="rect">
            <a:avLst/>
          </a:prstGeom>
        </p:spPr>
        <p:txBody>
          <a:bodyPr vert="horz" lIns="0" tIns="0" rIns="0" bIns="0" rtlCol="0" anchor="ctr">
            <a:noAutofit/>
          </a:bodyPr>
          <a:lstStyle/>
          <a:p>
            <a:r>
              <a:rPr lang="en-US" dirty="0"/>
              <a:t>Click to edit Master title style</a:t>
            </a:r>
          </a:p>
        </p:txBody>
      </p:sp>
      <p:sp>
        <p:nvSpPr>
          <p:cNvPr id="13" name="Text Placeholder 2"/>
          <p:cNvSpPr>
            <a:spLocks noGrp="1"/>
          </p:cNvSpPr>
          <p:nvPr>
            <p:ph type="body" idx="1"/>
          </p:nvPr>
        </p:nvSpPr>
        <p:spPr>
          <a:xfrm>
            <a:off x="228600" y="1257300"/>
            <a:ext cx="8686800" cy="50292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2759304"/>
      </p:ext>
    </p:extLst>
  </p:cSld>
  <p:clrMap bg1="lt1" tx1="dk1" bg2="lt2" tx2="dk2" accent1="accent1" accent2="accent2" accent3="accent3" accent4="accent4" accent5="accent5" accent6="accent6" hlink="hlink" folHlink="folHlink"/>
  <p:sldLayoutIdLst>
    <p:sldLayoutId id="2147483669" r:id="rId1"/>
    <p:sldLayoutId id="2147483675" r:id="rId2"/>
    <p:sldLayoutId id="2147483680" r:id="rId3"/>
    <p:sldLayoutId id="2147483681" r:id="rId4"/>
    <p:sldLayoutId id="2147483704" r:id="rId5"/>
    <p:sldLayoutId id="2147483682" r:id="rId6"/>
    <p:sldLayoutId id="2147483700" r:id="rId7"/>
    <p:sldLayoutId id="2147483701" r:id="rId8"/>
    <p:sldLayoutId id="2147483707" r:id="rId9"/>
  </p:sldLayoutIdLst>
  <p:txStyles>
    <p:titleStyle>
      <a:lvl1pPr algn="l" defTabSz="685800" rtl="0" eaLnBrk="1" latinLnBrk="0" hangingPunct="1">
        <a:lnSpc>
          <a:spcPct val="90000"/>
        </a:lnSpc>
        <a:spcBef>
          <a:spcPct val="0"/>
        </a:spcBef>
        <a:buNone/>
        <a:defRPr sz="2700" b="0" i="0" kern="1200" cap="all" baseline="0">
          <a:solidFill>
            <a:schemeClr val="tx2"/>
          </a:solidFill>
          <a:latin typeface="+mn-lt"/>
          <a:ea typeface="+mj-ea"/>
          <a:cs typeface="+mj-cs"/>
        </a:defRPr>
      </a:lvl1pPr>
    </p:titleStyle>
    <p:bodyStyle>
      <a:lvl1pPr marL="20574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1pPr>
      <a:lvl2pPr marL="41148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2pPr>
      <a:lvl3pPr marL="61722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3pPr>
      <a:lvl4pPr marL="82296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4pPr>
      <a:lvl5pPr marL="102870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782E1F-A39E-441B-AD6F-332D6BFA5B45}"/>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25F1A90-C3BD-4086-A9DD-A2D734AA75F8}"/>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34BC41-8A91-48BA-9C2E-4215EF149118}"/>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8FA199-D958-4D8E-AD3E-0BAC134C93DC}" type="datetimeFigureOut">
              <a:rPr lang="en-US" smtClean="0"/>
              <a:t>1/6/2025</a:t>
            </a:fld>
            <a:endParaRPr lang="en-US" dirty="0"/>
          </a:p>
        </p:txBody>
      </p:sp>
      <p:sp>
        <p:nvSpPr>
          <p:cNvPr id="5" name="Footer Placeholder 4">
            <a:extLst>
              <a:ext uri="{FF2B5EF4-FFF2-40B4-BE49-F238E27FC236}">
                <a16:creationId xmlns:a16="http://schemas.microsoft.com/office/drawing/2014/main" id="{3DFC5C53-2708-4D01-BF9E-8A1B215DBAA6}"/>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1137A526-7CEE-4753-9779-287E67B33225}"/>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EE01B6-C7D6-40DE-8A22-CC41578609A4}" type="slidenum">
              <a:rPr lang="en-US" smtClean="0"/>
              <a:t>‹#›</a:t>
            </a:fld>
            <a:endParaRPr lang="en-US" dirty="0"/>
          </a:p>
        </p:txBody>
      </p:sp>
    </p:spTree>
    <p:extLst>
      <p:ext uri="{BB962C8B-B14F-4D97-AF65-F5344CB8AC3E}">
        <p14:creationId xmlns:p14="http://schemas.microsoft.com/office/powerpoint/2010/main" val="148207586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228601" y="228601"/>
            <a:ext cx="7536543" cy="914399"/>
          </a:xfrm>
          <a:prstGeom prst="rect">
            <a:avLst/>
          </a:prstGeom>
        </p:spPr>
        <p:txBody>
          <a:bodyPr vert="horz" lIns="0" tIns="0" rIns="0" bIns="0" rtlCol="0" anchor="ctr">
            <a:noAutofit/>
          </a:bodyPr>
          <a:lstStyle/>
          <a:p>
            <a:r>
              <a:rPr lang="en-US" dirty="0"/>
              <a:t>Click to edit Master title style</a:t>
            </a:r>
          </a:p>
        </p:txBody>
      </p:sp>
      <p:sp>
        <p:nvSpPr>
          <p:cNvPr id="13" name="Text Placeholder 2"/>
          <p:cNvSpPr>
            <a:spLocks noGrp="1"/>
          </p:cNvSpPr>
          <p:nvPr>
            <p:ph type="body" idx="1"/>
          </p:nvPr>
        </p:nvSpPr>
        <p:spPr>
          <a:xfrm>
            <a:off x="228600" y="1257300"/>
            <a:ext cx="8686800" cy="50292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910235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Lst>
  <p:txStyles>
    <p:titleStyle>
      <a:lvl1pPr algn="l" defTabSz="685800" rtl="0" eaLnBrk="1" latinLnBrk="0" hangingPunct="1">
        <a:lnSpc>
          <a:spcPct val="90000"/>
        </a:lnSpc>
        <a:spcBef>
          <a:spcPct val="0"/>
        </a:spcBef>
        <a:buNone/>
        <a:defRPr sz="2700" b="0" i="0" kern="1200" cap="all" baseline="0">
          <a:solidFill>
            <a:schemeClr val="tx2"/>
          </a:solidFill>
          <a:latin typeface="+mn-lt"/>
          <a:ea typeface="+mj-ea"/>
          <a:cs typeface="+mj-cs"/>
        </a:defRPr>
      </a:lvl1pPr>
    </p:titleStyle>
    <p:bodyStyle>
      <a:lvl1pPr marL="20574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1pPr>
      <a:lvl2pPr marL="41148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2pPr>
      <a:lvl3pPr marL="61722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3pPr>
      <a:lvl4pPr marL="82296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4pPr>
      <a:lvl5pPr marL="102870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144">
          <p15:clr>
            <a:srgbClr val="F26B43"/>
          </p15:clr>
        </p15:guide>
        <p15:guide id="4" pos="5616">
          <p15:clr>
            <a:srgbClr val="F26B43"/>
          </p15:clr>
        </p15:guide>
        <p15:guide id="5" pos="2784">
          <p15:clr>
            <a:srgbClr val="F26B43"/>
          </p15:clr>
        </p15:guide>
        <p15:guide id="6" pos="297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228601" y="228601"/>
            <a:ext cx="7536543" cy="914399"/>
          </a:xfrm>
          <a:prstGeom prst="rect">
            <a:avLst/>
          </a:prstGeom>
        </p:spPr>
        <p:txBody>
          <a:bodyPr vert="horz" lIns="0" tIns="0" rIns="0" bIns="0" rtlCol="0" anchor="ctr">
            <a:noAutofit/>
          </a:bodyPr>
          <a:lstStyle/>
          <a:p>
            <a:r>
              <a:rPr lang="en-US" dirty="0"/>
              <a:t>Click to edit Master title style</a:t>
            </a:r>
          </a:p>
        </p:txBody>
      </p:sp>
      <p:sp>
        <p:nvSpPr>
          <p:cNvPr id="13" name="Text Placeholder 2"/>
          <p:cNvSpPr>
            <a:spLocks noGrp="1"/>
          </p:cNvSpPr>
          <p:nvPr>
            <p:ph type="body" idx="1"/>
          </p:nvPr>
        </p:nvSpPr>
        <p:spPr>
          <a:xfrm>
            <a:off x="228600" y="1257300"/>
            <a:ext cx="8686800" cy="50292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2315419"/>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30" r:id="rId5"/>
    <p:sldLayoutId id="2147483731" r:id="rId6"/>
  </p:sldLayoutIdLst>
  <p:txStyles>
    <p:titleStyle>
      <a:lvl1pPr algn="l" defTabSz="685800" rtl="0" eaLnBrk="1" latinLnBrk="0" hangingPunct="1">
        <a:lnSpc>
          <a:spcPct val="90000"/>
        </a:lnSpc>
        <a:spcBef>
          <a:spcPct val="0"/>
        </a:spcBef>
        <a:buNone/>
        <a:defRPr sz="2700" b="0" i="0" kern="1200" cap="all" baseline="0">
          <a:solidFill>
            <a:schemeClr val="tx2"/>
          </a:solidFill>
          <a:latin typeface="+mn-lt"/>
          <a:ea typeface="+mj-ea"/>
          <a:cs typeface="+mj-cs"/>
        </a:defRPr>
      </a:lvl1pPr>
    </p:titleStyle>
    <p:bodyStyle>
      <a:lvl1pPr marL="20574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1pPr>
      <a:lvl2pPr marL="41148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2pPr>
      <a:lvl3pPr marL="61722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3pPr>
      <a:lvl4pPr marL="82296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4pPr>
      <a:lvl5pPr marL="102870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Layout" Target="../slideLayouts/slideLayout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Layout" Target="../slideLayouts/slideLayout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8.png"/><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B8ADCC1-49BE-0C85-78C7-721C1F0E0FE4}"/>
              </a:ext>
            </a:extLst>
          </p:cNvPr>
          <p:cNvSpPr/>
          <p:nvPr/>
        </p:nvSpPr>
        <p:spPr>
          <a:xfrm>
            <a:off x="810883" y="3295291"/>
            <a:ext cx="7643004" cy="1595881"/>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3" name="Straight Connector 2">
            <a:extLst>
              <a:ext uri="{FF2B5EF4-FFF2-40B4-BE49-F238E27FC236}">
                <a16:creationId xmlns:a16="http://schemas.microsoft.com/office/drawing/2014/main" id="{000B83F6-9BA3-4A19-B0DE-CFEFC0FBEE84}"/>
              </a:ext>
            </a:extLst>
          </p:cNvPr>
          <p:cNvCxnSpPr/>
          <p:nvPr/>
        </p:nvCxnSpPr>
        <p:spPr>
          <a:xfrm>
            <a:off x="0" y="0"/>
            <a:ext cx="914400" cy="0"/>
          </a:xfrm>
          <a:prstGeom prst="line">
            <a:avLst/>
          </a:prstGeom>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F16E1AE6-DF04-4C58-B463-C6806D19F47B}"/>
              </a:ext>
            </a:extLst>
          </p:cNvPr>
          <p:cNvSpPr>
            <a:spLocks noGrp="1"/>
          </p:cNvSpPr>
          <p:nvPr>
            <p:ph type="body" sz="quarter" idx="10"/>
          </p:nvPr>
        </p:nvSpPr>
        <p:spPr>
          <a:xfrm>
            <a:off x="457200" y="3542065"/>
            <a:ext cx="8229600" cy="2761488"/>
          </a:xfrm>
        </p:spPr>
        <p:txBody>
          <a:bodyPr/>
          <a:lstStyle/>
          <a:p>
            <a:pPr algn="ctr" defTabSz="685800">
              <a:buClr>
                <a:schemeClr val="accent1"/>
              </a:buClr>
            </a:pPr>
            <a:r>
              <a:rPr lang="en-US" sz="4000" b="1" dirty="0">
                <a:solidFill>
                  <a:srgbClr val="418AB3"/>
                </a:solidFill>
                <a:latin typeface="+mj-lt"/>
                <a:cs typeface="Aldhabi" panose="020F0502020204030204" pitchFamily="2" charset="-78"/>
              </a:rPr>
              <a:t>Team 1: Gen AI Hackathon 2025</a:t>
            </a:r>
          </a:p>
          <a:p>
            <a:pPr algn="ctr" defTabSz="685800">
              <a:buClr>
                <a:schemeClr val="accent1"/>
              </a:buClr>
            </a:pPr>
            <a:r>
              <a:rPr lang="en-US" b="1" dirty="0">
                <a:solidFill>
                  <a:srgbClr val="418AB3"/>
                </a:solidFill>
                <a:latin typeface="+mj-lt"/>
                <a:cs typeface="Aldhabi" panose="020F0502020204030204" pitchFamily="2" charset="-78"/>
              </a:rPr>
              <a:t>Deck</a:t>
            </a:r>
            <a:endParaRPr lang="en-US" sz="4000" b="1" dirty="0">
              <a:solidFill>
                <a:srgbClr val="418AB3"/>
              </a:solidFill>
              <a:latin typeface="+mj-lt"/>
              <a:cs typeface="Aldhabi" panose="020F0502020204030204" pitchFamily="2" charset="-78"/>
            </a:endParaRPr>
          </a:p>
        </p:txBody>
      </p:sp>
    </p:spTree>
    <p:extLst>
      <p:ext uri="{BB962C8B-B14F-4D97-AF65-F5344CB8AC3E}">
        <p14:creationId xmlns:p14="http://schemas.microsoft.com/office/powerpoint/2010/main" val="5888021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281C0D-A25B-1D43-477F-D29362DC200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914CD6E2-550F-B62E-8EFC-36B2299BA00C}"/>
              </a:ext>
            </a:extLst>
          </p:cNvPr>
          <p:cNvSpPr/>
          <p:nvPr/>
        </p:nvSpPr>
        <p:spPr>
          <a:xfrm>
            <a:off x="1505255" y="2178838"/>
            <a:ext cx="6167887" cy="293298"/>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Date Placeholder 2">
            <a:extLst>
              <a:ext uri="{FF2B5EF4-FFF2-40B4-BE49-F238E27FC236}">
                <a16:creationId xmlns:a16="http://schemas.microsoft.com/office/drawing/2014/main" id="{F802DFB0-030E-7324-396F-528398482225}"/>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17" name="Rectangle 16">
            <a:extLst>
              <a:ext uri="{FF2B5EF4-FFF2-40B4-BE49-F238E27FC236}">
                <a16:creationId xmlns:a16="http://schemas.microsoft.com/office/drawing/2014/main" id="{B87D902E-8526-75DC-F917-664DC07ABA1C}"/>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35160E3B-D19D-1259-23FD-F2AF1BFD3A95}"/>
              </a:ext>
            </a:extLst>
          </p:cNvPr>
          <p:cNvPicPr>
            <a:picLocks noChangeAspect="1"/>
          </p:cNvPicPr>
          <p:nvPr/>
        </p:nvPicPr>
        <p:blipFill>
          <a:blip r:embed="rId2"/>
          <a:srcRect t="1" r="12388" b="-6195"/>
          <a:stretch/>
        </p:blipFill>
        <p:spPr>
          <a:xfrm>
            <a:off x="7292898" y="6580867"/>
            <a:ext cx="1518807" cy="277133"/>
          </a:xfrm>
          <a:prstGeom prst="rect">
            <a:avLst/>
          </a:prstGeom>
        </p:spPr>
      </p:pic>
      <p:sp>
        <p:nvSpPr>
          <p:cNvPr id="27" name="TextBox 26">
            <a:extLst>
              <a:ext uri="{FF2B5EF4-FFF2-40B4-BE49-F238E27FC236}">
                <a16:creationId xmlns:a16="http://schemas.microsoft.com/office/drawing/2014/main" id="{02399CC2-C712-B0DE-2F10-643D815D5A4F}"/>
              </a:ext>
            </a:extLst>
          </p:cNvPr>
          <p:cNvSpPr txBox="1"/>
          <p:nvPr/>
        </p:nvSpPr>
        <p:spPr>
          <a:xfrm>
            <a:off x="782322" y="215660"/>
            <a:ext cx="2656935" cy="448573"/>
          </a:xfrm>
          <a:prstGeom prst="rect">
            <a:avLst/>
          </a:prstGeom>
          <a:noFill/>
        </p:spPr>
        <p:txBody>
          <a:bodyPr wrap="none" lIns="0" tIns="0" rIns="0" bIns="0" rtlCol="0">
            <a:noAutofit/>
          </a:bodyPr>
          <a:lstStyle/>
          <a:p>
            <a:pPr algn="ctr">
              <a:lnSpc>
                <a:spcPct val="150000"/>
              </a:lnSpc>
            </a:pPr>
            <a:endParaRPr lang="en-US" sz="2400" b="1" dirty="0">
              <a:solidFill>
                <a:schemeClr val="bg1"/>
              </a:solidFill>
            </a:endParaRPr>
          </a:p>
        </p:txBody>
      </p:sp>
      <p:sp>
        <p:nvSpPr>
          <p:cNvPr id="28" name="Rectangle 27">
            <a:extLst>
              <a:ext uri="{FF2B5EF4-FFF2-40B4-BE49-F238E27FC236}">
                <a16:creationId xmlns:a16="http://schemas.microsoft.com/office/drawing/2014/main" id="{13B39BCB-927E-0E60-7E5E-1B0564BC85BC}"/>
              </a:ext>
            </a:extLst>
          </p:cNvPr>
          <p:cNvSpPr/>
          <p:nvPr/>
        </p:nvSpPr>
        <p:spPr>
          <a:xfrm>
            <a:off x="914400" y="215660"/>
            <a:ext cx="7617125"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B669BEFC-D207-155A-6C17-9C1E483AF939}"/>
              </a:ext>
            </a:extLst>
          </p:cNvPr>
          <p:cNvSpPr txBox="1"/>
          <p:nvPr/>
        </p:nvSpPr>
        <p:spPr>
          <a:xfrm>
            <a:off x="1505255" y="140887"/>
            <a:ext cx="6547046" cy="589072"/>
          </a:xfrm>
          <a:prstGeom prst="rect">
            <a:avLst/>
          </a:prstGeom>
          <a:noFill/>
        </p:spPr>
        <p:txBody>
          <a:bodyPr wrap="square">
            <a:spAutoFit/>
          </a:bodyPr>
          <a:lstStyle/>
          <a:p>
            <a:pPr algn="ctr">
              <a:lnSpc>
                <a:spcPct val="150000"/>
              </a:lnSpc>
            </a:pPr>
            <a:r>
              <a:rPr lang="en-US" sz="2400" b="1" dirty="0">
                <a:solidFill>
                  <a:schemeClr val="bg1"/>
                </a:solidFill>
              </a:rPr>
              <a:t>Exploring Free-to-Use Open-Source LLMs:</a:t>
            </a:r>
          </a:p>
        </p:txBody>
      </p:sp>
      <p:sp>
        <p:nvSpPr>
          <p:cNvPr id="31" name="Rectangle 30">
            <a:extLst>
              <a:ext uri="{FF2B5EF4-FFF2-40B4-BE49-F238E27FC236}">
                <a16:creationId xmlns:a16="http://schemas.microsoft.com/office/drawing/2014/main" id="{B9557867-13DB-085F-1890-2766CB0D2296}"/>
              </a:ext>
            </a:extLst>
          </p:cNvPr>
          <p:cNvSpPr/>
          <p:nvPr/>
        </p:nvSpPr>
        <p:spPr>
          <a:xfrm>
            <a:off x="402565" y="899401"/>
            <a:ext cx="8409140" cy="113302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32" name="TextBox 31">
            <a:extLst>
              <a:ext uri="{FF2B5EF4-FFF2-40B4-BE49-F238E27FC236}">
                <a16:creationId xmlns:a16="http://schemas.microsoft.com/office/drawing/2014/main" id="{4BB0C797-9596-F8B7-1ED5-E48FA694BB4B}"/>
              </a:ext>
            </a:extLst>
          </p:cNvPr>
          <p:cNvSpPr txBox="1"/>
          <p:nvPr/>
        </p:nvSpPr>
        <p:spPr>
          <a:xfrm>
            <a:off x="605466" y="1011158"/>
            <a:ext cx="8135969" cy="954107"/>
          </a:xfrm>
          <a:prstGeom prst="rect">
            <a:avLst/>
          </a:prstGeom>
          <a:noFill/>
        </p:spPr>
        <p:txBody>
          <a:bodyPr wrap="square">
            <a:spAutoFit/>
          </a:bodyPr>
          <a:lstStyle/>
          <a:p>
            <a:pPr marL="342900" indent="-342900">
              <a:buFont typeface="+mj-lt"/>
              <a:buAutoNum type="arabicPeriod"/>
            </a:pPr>
            <a:r>
              <a:rPr lang="en-US" sz="1400" dirty="0"/>
              <a:t>We leverage the latest </a:t>
            </a:r>
            <a:r>
              <a:rPr lang="en-US" sz="1400" b="1" dirty="0"/>
              <a:t>open-source Llama 3.2</a:t>
            </a:r>
            <a:r>
              <a:rPr lang="en-US" sz="1400" dirty="0"/>
              <a:t> models, which are free to use. Even the smaller 3B model demonstrated </a:t>
            </a:r>
            <a:r>
              <a:rPr lang="en-US" sz="1400" b="1" dirty="0"/>
              <a:t>performance comparable </a:t>
            </a:r>
            <a:r>
              <a:rPr lang="en-US" sz="1400" dirty="0"/>
              <a:t>to the GPT-3.5 Turbo 8B model during testing.</a:t>
            </a:r>
          </a:p>
          <a:p>
            <a:pPr marL="342900" indent="-342900">
              <a:buFont typeface="+mj-lt"/>
              <a:buAutoNum type="arabicPeriod"/>
            </a:pPr>
            <a:r>
              <a:rPr lang="en-US" sz="1400" dirty="0"/>
              <a:t>By adopting a slightly larger version of the Llama model, we can achieve similar results for the task with minimal </a:t>
            </a:r>
            <a:r>
              <a:rPr lang="en-US" sz="1400" b="1" dirty="0"/>
              <a:t>to no LLM model costs</a:t>
            </a:r>
            <a:r>
              <a:rPr lang="en-US" sz="1400" dirty="0"/>
              <a:t>.</a:t>
            </a:r>
          </a:p>
        </p:txBody>
      </p:sp>
      <p:sp>
        <p:nvSpPr>
          <p:cNvPr id="4" name="TextBox 3">
            <a:extLst>
              <a:ext uri="{FF2B5EF4-FFF2-40B4-BE49-F238E27FC236}">
                <a16:creationId xmlns:a16="http://schemas.microsoft.com/office/drawing/2014/main" id="{E31919C4-B1A3-6B89-6ECE-5C470CAD2FB8}"/>
              </a:ext>
            </a:extLst>
          </p:cNvPr>
          <p:cNvSpPr txBox="1"/>
          <p:nvPr/>
        </p:nvSpPr>
        <p:spPr>
          <a:xfrm>
            <a:off x="1927895" y="2086406"/>
            <a:ext cx="7026270" cy="382092"/>
          </a:xfrm>
          <a:prstGeom prst="rect">
            <a:avLst/>
          </a:prstGeom>
          <a:noFill/>
        </p:spPr>
        <p:txBody>
          <a:bodyPr wrap="square">
            <a:spAutoFit/>
          </a:bodyPr>
          <a:lstStyle/>
          <a:p>
            <a:pPr>
              <a:lnSpc>
                <a:spcPct val="150000"/>
              </a:lnSpc>
            </a:pPr>
            <a:r>
              <a:rPr lang="en-US" sz="1400" b="1" dirty="0"/>
              <a:t>Below is the output generated by the Llama 3.2:3B-Instruct-Q8_0 model</a:t>
            </a:r>
          </a:p>
        </p:txBody>
      </p:sp>
      <p:pic>
        <p:nvPicPr>
          <p:cNvPr id="3074" name="Picture 2">
            <a:extLst>
              <a:ext uri="{FF2B5EF4-FFF2-40B4-BE49-F238E27FC236}">
                <a16:creationId xmlns:a16="http://schemas.microsoft.com/office/drawing/2014/main" id="{79E585DA-23A0-AE41-3328-A2322DE2FB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0503" y="2627231"/>
            <a:ext cx="6593263" cy="377510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554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889A8BC-1A84-3FB4-A013-B005F46303E5}"/>
              </a:ext>
            </a:extLst>
          </p:cNvPr>
          <p:cNvSpPr/>
          <p:nvPr/>
        </p:nvSpPr>
        <p:spPr>
          <a:xfrm>
            <a:off x="750498" y="2631059"/>
            <a:ext cx="7643004" cy="1595881"/>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4" name="Text Placeholder 1">
            <a:extLst>
              <a:ext uri="{FF2B5EF4-FFF2-40B4-BE49-F238E27FC236}">
                <a16:creationId xmlns:a16="http://schemas.microsoft.com/office/drawing/2014/main" id="{69BC178B-F25C-5306-C6AC-F0FAC9286A2F}"/>
              </a:ext>
            </a:extLst>
          </p:cNvPr>
          <p:cNvSpPr txBox="1">
            <a:spLocks/>
          </p:cNvSpPr>
          <p:nvPr/>
        </p:nvSpPr>
        <p:spPr>
          <a:xfrm>
            <a:off x="457200" y="3067612"/>
            <a:ext cx="8229600" cy="2761488"/>
          </a:xfrm>
          <a:prstGeom prst="rect">
            <a:avLst/>
          </a:prstGeom>
        </p:spPr>
        <p:txBody>
          <a:bodyPr/>
          <a:lstStyle>
            <a:lvl1pPr marL="20574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1pPr>
            <a:lvl2pPr marL="41148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2pPr>
            <a:lvl3pPr marL="61722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3pPr>
            <a:lvl4pPr marL="82296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4pPr>
            <a:lvl5pPr marL="1028700" indent="-205740" algn="l" defTabSz="685800" rtl="0" eaLnBrk="1" latinLnBrk="0" hangingPunct="1">
              <a:lnSpc>
                <a:spcPct val="100000"/>
              </a:lnSpc>
              <a:spcBef>
                <a:spcPts val="450"/>
              </a:spcBef>
              <a:buClr>
                <a:schemeClr val="accent1"/>
              </a:buClr>
              <a:buFont typeface="Arial" panose="020B0604020202020204" pitchFamily="34" charset="0"/>
              <a:buChar char="•"/>
              <a:defRPr lang="en-US" sz="1400" b="0" i="0" kern="1200" dirty="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4000" b="1" dirty="0">
                <a:solidFill>
                  <a:srgbClr val="418AB3"/>
                </a:solidFill>
                <a:latin typeface="+mj-lt"/>
                <a:cs typeface="Aldhabi" panose="020F0502020204030204" pitchFamily="2" charset="-78"/>
              </a:rPr>
              <a:t>Thank You</a:t>
            </a:r>
          </a:p>
        </p:txBody>
      </p:sp>
      <p:sp>
        <p:nvSpPr>
          <p:cNvPr id="5" name="Date Placeholder 2">
            <a:extLst>
              <a:ext uri="{FF2B5EF4-FFF2-40B4-BE49-F238E27FC236}">
                <a16:creationId xmlns:a16="http://schemas.microsoft.com/office/drawing/2014/main" id="{02F95209-C89C-70FD-506D-7C06A536D079}"/>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6" name="Rectangle 5">
            <a:extLst>
              <a:ext uri="{FF2B5EF4-FFF2-40B4-BE49-F238E27FC236}">
                <a16:creationId xmlns:a16="http://schemas.microsoft.com/office/drawing/2014/main" id="{E250B0CD-B633-850B-F2FB-79569313F699}"/>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7206B97B-58DC-C7A9-58E9-050CFE0A09C2}"/>
              </a:ext>
            </a:extLst>
          </p:cNvPr>
          <p:cNvPicPr>
            <a:picLocks noChangeAspect="1"/>
          </p:cNvPicPr>
          <p:nvPr/>
        </p:nvPicPr>
        <p:blipFill>
          <a:blip r:embed="rId2"/>
          <a:srcRect t="1" r="12388" b="-6195"/>
          <a:stretch/>
        </p:blipFill>
        <p:spPr>
          <a:xfrm>
            <a:off x="7292898" y="6580867"/>
            <a:ext cx="1518807" cy="277133"/>
          </a:xfrm>
          <a:prstGeom prst="rect">
            <a:avLst/>
          </a:prstGeom>
        </p:spPr>
      </p:pic>
    </p:spTree>
    <p:extLst>
      <p:ext uri="{BB962C8B-B14F-4D97-AF65-F5344CB8AC3E}">
        <p14:creationId xmlns:p14="http://schemas.microsoft.com/office/powerpoint/2010/main" val="2334516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30DE7B37-A1BA-3995-BFB4-AA692D68154B}"/>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17" name="Rectangle 16">
            <a:extLst>
              <a:ext uri="{FF2B5EF4-FFF2-40B4-BE49-F238E27FC236}">
                <a16:creationId xmlns:a16="http://schemas.microsoft.com/office/drawing/2014/main" id="{64BC7483-4E63-5560-CD27-E93E918E29D0}"/>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067B94E9-6316-0A99-CB26-D51F592ACCCA}"/>
              </a:ext>
            </a:extLst>
          </p:cNvPr>
          <p:cNvPicPr>
            <a:picLocks noChangeAspect="1"/>
          </p:cNvPicPr>
          <p:nvPr/>
        </p:nvPicPr>
        <p:blipFill>
          <a:blip r:embed="rId2"/>
          <a:srcRect t="1" r="12388" b="-6195"/>
          <a:stretch/>
        </p:blipFill>
        <p:spPr>
          <a:xfrm>
            <a:off x="7292898" y="6580867"/>
            <a:ext cx="1518807" cy="277133"/>
          </a:xfrm>
          <a:prstGeom prst="rect">
            <a:avLst/>
          </a:prstGeom>
        </p:spPr>
      </p:pic>
      <p:sp>
        <p:nvSpPr>
          <p:cNvPr id="27" name="TextBox 26">
            <a:extLst>
              <a:ext uri="{FF2B5EF4-FFF2-40B4-BE49-F238E27FC236}">
                <a16:creationId xmlns:a16="http://schemas.microsoft.com/office/drawing/2014/main" id="{B2B0B2B7-F9D5-E6C1-2994-D7BBDD3F2607}"/>
              </a:ext>
            </a:extLst>
          </p:cNvPr>
          <p:cNvSpPr txBox="1"/>
          <p:nvPr/>
        </p:nvSpPr>
        <p:spPr>
          <a:xfrm>
            <a:off x="782322" y="215660"/>
            <a:ext cx="2656935" cy="448573"/>
          </a:xfrm>
          <a:prstGeom prst="rect">
            <a:avLst/>
          </a:prstGeom>
          <a:noFill/>
        </p:spPr>
        <p:txBody>
          <a:bodyPr wrap="none" lIns="0" tIns="0" rIns="0" bIns="0" rtlCol="0">
            <a:noAutofit/>
          </a:bodyPr>
          <a:lstStyle/>
          <a:p>
            <a:pPr algn="ctr">
              <a:lnSpc>
                <a:spcPct val="150000"/>
              </a:lnSpc>
            </a:pPr>
            <a:endParaRPr lang="en-US" sz="2400" b="1" dirty="0">
              <a:solidFill>
                <a:schemeClr val="bg1"/>
              </a:solidFill>
            </a:endParaRPr>
          </a:p>
        </p:txBody>
      </p:sp>
      <p:sp>
        <p:nvSpPr>
          <p:cNvPr id="28" name="Rectangle 27">
            <a:extLst>
              <a:ext uri="{FF2B5EF4-FFF2-40B4-BE49-F238E27FC236}">
                <a16:creationId xmlns:a16="http://schemas.microsoft.com/office/drawing/2014/main" id="{4C0EC8F8-8D7C-A16B-63DD-A1A909778563}"/>
              </a:ext>
            </a:extLst>
          </p:cNvPr>
          <p:cNvSpPr/>
          <p:nvPr/>
        </p:nvSpPr>
        <p:spPr>
          <a:xfrm>
            <a:off x="2380890" y="215660"/>
            <a:ext cx="4382219"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177CB7CE-AF41-6D46-C258-06C59D14A9BD}"/>
              </a:ext>
            </a:extLst>
          </p:cNvPr>
          <p:cNvSpPr txBox="1"/>
          <p:nvPr/>
        </p:nvSpPr>
        <p:spPr>
          <a:xfrm>
            <a:off x="2449901" y="144170"/>
            <a:ext cx="4313208" cy="589072"/>
          </a:xfrm>
          <a:prstGeom prst="rect">
            <a:avLst/>
          </a:prstGeom>
          <a:noFill/>
        </p:spPr>
        <p:txBody>
          <a:bodyPr wrap="square">
            <a:spAutoFit/>
          </a:bodyPr>
          <a:lstStyle/>
          <a:p>
            <a:pPr algn="ctr">
              <a:lnSpc>
                <a:spcPct val="150000"/>
              </a:lnSpc>
            </a:pPr>
            <a:r>
              <a:rPr lang="en-US" sz="2400" b="1" dirty="0">
                <a:solidFill>
                  <a:schemeClr val="bg1"/>
                </a:solidFill>
              </a:rPr>
              <a:t>Business Problem Statement</a:t>
            </a:r>
          </a:p>
        </p:txBody>
      </p:sp>
      <p:sp>
        <p:nvSpPr>
          <p:cNvPr id="31" name="Rectangle 30">
            <a:extLst>
              <a:ext uri="{FF2B5EF4-FFF2-40B4-BE49-F238E27FC236}">
                <a16:creationId xmlns:a16="http://schemas.microsoft.com/office/drawing/2014/main" id="{3D10E636-42D3-DCFB-0464-26C6C8DBA61A}"/>
              </a:ext>
            </a:extLst>
          </p:cNvPr>
          <p:cNvSpPr/>
          <p:nvPr/>
        </p:nvSpPr>
        <p:spPr>
          <a:xfrm>
            <a:off x="402565" y="899400"/>
            <a:ext cx="8409140" cy="234752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Box 31">
            <a:extLst>
              <a:ext uri="{FF2B5EF4-FFF2-40B4-BE49-F238E27FC236}">
                <a16:creationId xmlns:a16="http://schemas.microsoft.com/office/drawing/2014/main" id="{F7AA4505-B73A-022B-632F-92B7613063A2}"/>
              </a:ext>
            </a:extLst>
          </p:cNvPr>
          <p:cNvSpPr txBox="1"/>
          <p:nvPr/>
        </p:nvSpPr>
        <p:spPr>
          <a:xfrm>
            <a:off x="521267" y="1078317"/>
            <a:ext cx="8135969" cy="2031325"/>
          </a:xfrm>
          <a:prstGeom prst="rect">
            <a:avLst/>
          </a:prstGeom>
          <a:noFill/>
        </p:spPr>
        <p:txBody>
          <a:bodyPr wrap="square">
            <a:spAutoFit/>
          </a:bodyPr>
          <a:lstStyle/>
          <a:p>
            <a:pPr marL="342900" indent="-342900" algn="just">
              <a:buFont typeface="+mj-lt"/>
              <a:buAutoNum type="arabicPeriod"/>
            </a:pPr>
            <a:r>
              <a:rPr lang="en-US" sz="1400" b="1" dirty="0"/>
              <a:t>Frequent Ad-Hoc Data Requests: </a:t>
            </a:r>
            <a:r>
              <a:rPr lang="en-US" sz="1400" dirty="0"/>
              <a:t>Multiple teams often submit ad-hoc data requests that require immediate attention, creating a bottleneck in data retrieval processes and diverting focus from core responsibilities.</a:t>
            </a:r>
          </a:p>
          <a:p>
            <a:pPr marL="342900" indent="-342900" algn="just">
              <a:buFont typeface="+mj-lt"/>
              <a:buAutoNum type="arabicPeriod"/>
            </a:pPr>
            <a:r>
              <a:rPr lang="en-US" sz="1400" b="1" dirty="0"/>
              <a:t>Repetitive Nature of Requests:</a:t>
            </a:r>
            <a:r>
              <a:rPr lang="en-US" sz="1400" dirty="0"/>
              <a:t> Many requests are similar, differing only in specific segments or filters, leading to redundant query execution and inefficient use of resources.</a:t>
            </a:r>
          </a:p>
          <a:p>
            <a:pPr marL="342900" indent="-342900" algn="just">
              <a:buFont typeface="+mj-lt"/>
              <a:buAutoNum type="arabicPeriod"/>
            </a:pPr>
            <a:r>
              <a:rPr lang="en-US" sz="1400" b="1" dirty="0"/>
              <a:t>Time-Consuming and Resource-Intensive: </a:t>
            </a:r>
            <a:r>
              <a:rPr lang="en-US" sz="1400" dirty="0"/>
              <a:t>Crafting, running, and formatting queries for each request takes significant time, delaying responses and impacting the team's ability to focus on strategic tasks.</a:t>
            </a:r>
          </a:p>
          <a:p>
            <a:pPr marL="342900" indent="-342900" algn="just">
              <a:buFont typeface="+mj-lt"/>
              <a:buAutoNum type="arabicPeriod"/>
            </a:pPr>
            <a:r>
              <a:rPr lang="en-US" sz="1400" b="1" dirty="0"/>
              <a:t>Hindrance to Core Work and Decision-Making: </a:t>
            </a:r>
            <a:r>
              <a:rPr lang="en-US" sz="1400" dirty="0"/>
              <a:t>Addressing these requests disrupts primary work priorities and delays the delivery of insights critical for timely, data-driven decision-making.</a:t>
            </a:r>
          </a:p>
        </p:txBody>
      </p:sp>
      <p:sp>
        <p:nvSpPr>
          <p:cNvPr id="39" name="Rectangle 38">
            <a:extLst>
              <a:ext uri="{FF2B5EF4-FFF2-40B4-BE49-F238E27FC236}">
                <a16:creationId xmlns:a16="http://schemas.microsoft.com/office/drawing/2014/main" id="{C80DEF10-7F29-0595-BDA5-DD35DF6B65A2}"/>
              </a:ext>
            </a:extLst>
          </p:cNvPr>
          <p:cNvSpPr/>
          <p:nvPr/>
        </p:nvSpPr>
        <p:spPr>
          <a:xfrm>
            <a:off x="3148643" y="3384210"/>
            <a:ext cx="2881222"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DDEBBDC7-3A73-7733-C2D8-9E922C97B21C}"/>
              </a:ext>
            </a:extLst>
          </p:cNvPr>
          <p:cNvSpPr txBox="1"/>
          <p:nvPr/>
        </p:nvSpPr>
        <p:spPr>
          <a:xfrm>
            <a:off x="2449901" y="3312038"/>
            <a:ext cx="4313208" cy="589072"/>
          </a:xfrm>
          <a:prstGeom prst="rect">
            <a:avLst/>
          </a:prstGeom>
          <a:noFill/>
        </p:spPr>
        <p:txBody>
          <a:bodyPr wrap="square">
            <a:spAutoFit/>
          </a:bodyPr>
          <a:lstStyle/>
          <a:p>
            <a:pPr algn="ctr">
              <a:lnSpc>
                <a:spcPct val="150000"/>
              </a:lnSpc>
            </a:pPr>
            <a:r>
              <a:rPr lang="en-US" sz="2400" b="1" dirty="0">
                <a:solidFill>
                  <a:schemeClr val="bg1"/>
                </a:solidFill>
              </a:rPr>
              <a:t>Why Use Gen-AI ?</a:t>
            </a:r>
          </a:p>
        </p:txBody>
      </p:sp>
      <p:sp>
        <p:nvSpPr>
          <p:cNvPr id="41" name="Rectangle 40">
            <a:extLst>
              <a:ext uri="{FF2B5EF4-FFF2-40B4-BE49-F238E27FC236}">
                <a16:creationId xmlns:a16="http://schemas.microsoft.com/office/drawing/2014/main" id="{49E64B7F-C49B-46D3-DBDF-C0FE3C1FEF92}"/>
              </a:ext>
            </a:extLst>
          </p:cNvPr>
          <p:cNvSpPr/>
          <p:nvPr/>
        </p:nvSpPr>
        <p:spPr>
          <a:xfrm>
            <a:off x="402565" y="4065463"/>
            <a:ext cx="8409140" cy="226632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6C115830-D093-7C69-9B35-0E784FCE99BB}"/>
              </a:ext>
            </a:extLst>
          </p:cNvPr>
          <p:cNvSpPr txBox="1"/>
          <p:nvPr/>
        </p:nvSpPr>
        <p:spPr>
          <a:xfrm>
            <a:off x="521268" y="4364831"/>
            <a:ext cx="8170474" cy="1815882"/>
          </a:xfrm>
          <a:prstGeom prst="rect">
            <a:avLst/>
          </a:prstGeom>
          <a:noFill/>
        </p:spPr>
        <p:txBody>
          <a:bodyPr wrap="square">
            <a:spAutoFit/>
          </a:bodyPr>
          <a:lstStyle/>
          <a:p>
            <a:pPr marL="342900" indent="-342900">
              <a:buFont typeface="+mj-lt"/>
              <a:buAutoNum type="arabicPeriod"/>
            </a:pPr>
            <a:r>
              <a:rPr lang="en-US" sz="1400" b="1" dirty="0"/>
              <a:t>Automation and Efficiency: </a:t>
            </a:r>
            <a:r>
              <a:rPr lang="en-US" sz="1400" dirty="0"/>
              <a:t>Generative AI can automate repetitive tasks such as query generation, data formatting, and report creation by understanding natural language inputs. This reduces manual intervention, speeds up response times, and ensures consistency in handling frequent and similar ad-hoc data requests.</a:t>
            </a:r>
          </a:p>
          <a:p>
            <a:pPr marL="342900" indent="-342900">
              <a:buFont typeface="+mj-lt"/>
              <a:buAutoNum type="arabicPeriod"/>
            </a:pPr>
            <a:r>
              <a:rPr lang="en-US" sz="1400" b="1" dirty="0"/>
              <a:t>Scalability and Self-Service Capabilities: </a:t>
            </a:r>
            <a:r>
              <a:rPr lang="en-US" sz="1400" dirty="0"/>
              <a:t>Gen-AI enables the creation of self-service tools ( Agents ) that empower teams to retrieve data on their own by simply describing their requirements in natural language. This minimizes the dependency on the analytics team, freeing them to focus on high-priority tasks and strategic projects.</a:t>
            </a:r>
          </a:p>
        </p:txBody>
      </p:sp>
    </p:spTree>
    <p:extLst>
      <p:ext uri="{BB962C8B-B14F-4D97-AF65-F5344CB8AC3E}">
        <p14:creationId xmlns:p14="http://schemas.microsoft.com/office/powerpoint/2010/main" val="10852289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B303E68-D833-DC6C-C3FD-C0A19101FD02}"/>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4" name="Rectangle 3">
            <a:extLst>
              <a:ext uri="{FF2B5EF4-FFF2-40B4-BE49-F238E27FC236}">
                <a16:creationId xmlns:a16="http://schemas.microsoft.com/office/drawing/2014/main" id="{B3A468EF-E20D-90D6-D88B-23D0F3F643ED}"/>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8595D50E-801F-4824-7BF6-62565BCAC38C}"/>
              </a:ext>
            </a:extLst>
          </p:cNvPr>
          <p:cNvPicPr>
            <a:picLocks noChangeAspect="1"/>
          </p:cNvPicPr>
          <p:nvPr/>
        </p:nvPicPr>
        <p:blipFill>
          <a:blip r:embed="rId2"/>
          <a:srcRect t="1" r="12388" b="-6195"/>
          <a:stretch/>
        </p:blipFill>
        <p:spPr>
          <a:xfrm>
            <a:off x="7292898" y="6580867"/>
            <a:ext cx="1518807" cy="277133"/>
          </a:xfrm>
          <a:prstGeom prst="rect">
            <a:avLst/>
          </a:prstGeom>
        </p:spPr>
      </p:pic>
      <p:sp>
        <p:nvSpPr>
          <p:cNvPr id="6" name="Rectangle 5">
            <a:extLst>
              <a:ext uri="{FF2B5EF4-FFF2-40B4-BE49-F238E27FC236}">
                <a16:creationId xmlns:a16="http://schemas.microsoft.com/office/drawing/2014/main" id="{A1BAA44A-AEEB-98D8-4657-4FEBBA07B22B}"/>
              </a:ext>
            </a:extLst>
          </p:cNvPr>
          <p:cNvSpPr/>
          <p:nvPr/>
        </p:nvSpPr>
        <p:spPr>
          <a:xfrm>
            <a:off x="2346385" y="183632"/>
            <a:ext cx="4382219"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A64D636B-33D1-2945-17BD-E5BF9FB8E2DE}"/>
              </a:ext>
            </a:extLst>
          </p:cNvPr>
          <p:cNvSpPr txBox="1"/>
          <p:nvPr/>
        </p:nvSpPr>
        <p:spPr>
          <a:xfrm>
            <a:off x="2415396" y="112142"/>
            <a:ext cx="4313208" cy="589072"/>
          </a:xfrm>
          <a:prstGeom prst="rect">
            <a:avLst/>
          </a:prstGeom>
          <a:noFill/>
        </p:spPr>
        <p:txBody>
          <a:bodyPr wrap="square">
            <a:spAutoFit/>
          </a:bodyPr>
          <a:lstStyle/>
          <a:p>
            <a:pPr algn="ctr">
              <a:lnSpc>
                <a:spcPct val="150000"/>
              </a:lnSpc>
            </a:pPr>
            <a:r>
              <a:rPr lang="en-US" sz="2400" b="1" dirty="0">
                <a:solidFill>
                  <a:schemeClr val="bg1"/>
                </a:solidFill>
              </a:rPr>
              <a:t>Our Approach &amp; Architecture</a:t>
            </a:r>
          </a:p>
        </p:txBody>
      </p:sp>
      <p:sp>
        <p:nvSpPr>
          <p:cNvPr id="11" name="Rectangle 10">
            <a:extLst>
              <a:ext uri="{FF2B5EF4-FFF2-40B4-BE49-F238E27FC236}">
                <a16:creationId xmlns:a16="http://schemas.microsoft.com/office/drawing/2014/main" id="{DDEE9F28-2F77-D2AA-D050-23A034740CA6}"/>
              </a:ext>
            </a:extLst>
          </p:cNvPr>
          <p:cNvSpPr/>
          <p:nvPr/>
        </p:nvSpPr>
        <p:spPr>
          <a:xfrm>
            <a:off x="117531" y="3993755"/>
            <a:ext cx="8908937" cy="251328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355A4001-DF3B-46EC-DC5B-88B112A46D5F}"/>
              </a:ext>
            </a:extLst>
          </p:cNvPr>
          <p:cNvSpPr txBox="1"/>
          <p:nvPr/>
        </p:nvSpPr>
        <p:spPr>
          <a:xfrm>
            <a:off x="304487" y="4111621"/>
            <a:ext cx="8721981" cy="2277547"/>
          </a:xfrm>
          <a:prstGeom prst="rect">
            <a:avLst/>
          </a:prstGeom>
          <a:noFill/>
        </p:spPr>
        <p:txBody>
          <a:bodyPr wrap="square">
            <a:spAutoFit/>
          </a:bodyPr>
          <a:lstStyle/>
          <a:p>
            <a:r>
              <a:rPr lang="en-US" sz="1600" b="1" dirty="0"/>
              <a:t>Optimized Steps for Query Resolution:</a:t>
            </a:r>
          </a:p>
          <a:p>
            <a:pPr marL="285750" indent="-285750">
              <a:buFont typeface="Arial" panose="020B0604020202020204" pitchFamily="34" charset="0"/>
              <a:buChar char="•"/>
            </a:pPr>
            <a:r>
              <a:rPr lang="en-US" sz="1400" b="1" dirty="0">
                <a:solidFill>
                  <a:srgbClr val="FF0000"/>
                </a:solidFill>
              </a:rPr>
              <a:t>Step 0 </a:t>
            </a:r>
            <a:r>
              <a:rPr lang="en-US" sz="1400" b="1" dirty="0"/>
              <a:t>:   Store General Queries : </a:t>
            </a:r>
            <a:r>
              <a:rPr lang="en-US" sz="1400" dirty="0"/>
              <a:t>Save 20-30 commonly used queries in a Vector Database (Vector-DB).</a:t>
            </a:r>
          </a:p>
          <a:p>
            <a:pPr marL="285750" indent="-285750">
              <a:buFont typeface="Arial" panose="020B0604020202020204" pitchFamily="34" charset="0"/>
              <a:buChar char="•"/>
            </a:pPr>
            <a:r>
              <a:rPr lang="en-US" sz="1400" b="1" dirty="0">
                <a:solidFill>
                  <a:srgbClr val="FF0000"/>
                </a:solidFill>
              </a:rPr>
              <a:t>Step 1 </a:t>
            </a:r>
            <a:r>
              <a:rPr lang="en-US" sz="1400" b="1" dirty="0"/>
              <a:t>:   Retrieve Relevant Queries : </a:t>
            </a:r>
            <a:r>
              <a:rPr lang="en-US" sz="1400" dirty="0"/>
              <a:t>User inputs a query, and the system fetches the top-N relevant queries from    the Vector-DB.</a:t>
            </a:r>
          </a:p>
          <a:p>
            <a:pPr marL="285750" indent="-285750">
              <a:buFont typeface="Arial" panose="020B0604020202020204" pitchFamily="34" charset="0"/>
              <a:buChar char="•"/>
            </a:pPr>
            <a:r>
              <a:rPr lang="en-US" sz="1400" b="1" dirty="0">
                <a:solidFill>
                  <a:srgbClr val="FF0000"/>
                </a:solidFill>
              </a:rPr>
              <a:t>Step 2 </a:t>
            </a:r>
            <a:r>
              <a:rPr lang="en-US" sz="1400" b="1" dirty="0"/>
              <a:t>:   Re-Rank Queries : </a:t>
            </a:r>
            <a:r>
              <a:rPr lang="en-US" sz="1400" dirty="0"/>
              <a:t>An LLM re-ranks the fetched queries based on similarity scores.</a:t>
            </a:r>
          </a:p>
          <a:p>
            <a:pPr marL="285750" indent="-285750">
              <a:buFont typeface="Arial" panose="020B0604020202020204" pitchFamily="34" charset="0"/>
              <a:buChar char="•"/>
            </a:pPr>
            <a:r>
              <a:rPr lang="en-US" sz="1400" b="1" dirty="0">
                <a:solidFill>
                  <a:srgbClr val="FF0000"/>
                </a:solidFill>
              </a:rPr>
              <a:t>Step 3 </a:t>
            </a:r>
            <a:r>
              <a:rPr lang="en-US" sz="1400" b="1" dirty="0"/>
              <a:t>:   Select Top Queries : </a:t>
            </a:r>
            <a:r>
              <a:rPr lang="en-US" sz="1400" dirty="0"/>
              <a:t>Extract the top-K queries from the ranked list.</a:t>
            </a:r>
          </a:p>
          <a:p>
            <a:pPr marL="285750" indent="-285750">
              <a:buFont typeface="Arial" panose="020B0604020202020204" pitchFamily="34" charset="0"/>
              <a:buChar char="•"/>
            </a:pPr>
            <a:r>
              <a:rPr lang="en-US" sz="1400" b="1" dirty="0">
                <a:solidFill>
                  <a:srgbClr val="FF0000"/>
                </a:solidFill>
              </a:rPr>
              <a:t>Step 4 </a:t>
            </a:r>
            <a:r>
              <a:rPr lang="en-US" sz="1400" b="1" dirty="0"/>
              <a:t>:   Generating Query : </a:t>
            </a:r>
            <a:r>
              <a:rPr lang="en-US" sz="1400" dirty="0"/>
              <a:t>LLM takes the user requirements, schema of the DB and top K similar queries, then generates the required query.</a:t>
            </a:r>
          </a:p>
          <a:p>
            <a:pPr marL="285750" indent="-285750">
              <a:buFont typeface="Arial" panose="020B0604020202020204" pitchFamily="34" charset="0"/>
              <a:buChar char="•"/>
            </a:pPr>
            <a:r>
              <a:rPr lang="en-US" sz="1400" b="1" dirty="0">
                <a:solidFill>
                  <a:srgbClr val="FF0000"/>
                </a:solidFill>
              </a:rPr>
              <a:t>Step 5 &amp; 6 </a:t>
            </a:r>
            <a:r>
              <a:rPr lang="en-US" sz="1400" b="1" dirty="0"/>
              <a:t>:  Execute Query : </a:t>
            </a:r>
            <a:r>
              <a:rPr lang="en-US" sz="1400" dirty="0"/>
              <a:t>We use the generated Query to fetch the data from RDS.</a:t>
            </a:r>
          </a:p>
          <a:p>
            <a:pPr marL="285750" indent="-285750">
              <a:buFont typeface="Arial" panose="020B0604020202020204" pitchFamily="34" charset="0"/>
              <a:buChar char="•"/>
            </a:pPr>
            <a:r>
              <a:rPr lang="en-US" sz="1400" b="1" dirty="0">
                <a:solidFill>
                  <a:srgbClr val="FF0000"/>
                </a:solidFill>
              </a:rPr>
              <a:t>Step 7 </a:t>
            </a:r>
            <a:r>
              <a:rPr lang="en-US" sz="1400" b="1" dirty="0"/>
              <a:t>:   Deliver Results : </a:t>
            </a:r>
            <a:r>
              <a:rPr lang="en-US" sz="1400" dirty="0"/>
              <a:t>LLM returns the data along with a summarized report.</a:t>
            </a:r>
          </a:p>
        </p:txBody>
      </p:sp>
      <p:pic>
        <p:nvPicPr>
          <p:cNvPr id="10" name="Picture 9" descr="A diagram of a diagram&#10;&#10;Description automatically generated">
            <a:extLst>
              <a:ext uri="{FF2B5EF4-FFF2-40B4-BE49-F238E27FC236}">
                <a16:creationId xmlns:a16="http://schemas.microsoft.com/office/drawing/2014/main" id="{688844E0-336F-BC02-F6DF-355DD57B3C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7569" y="915310"/>
            <a:ext cx="5168859" cy="290748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8702217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4C16EB-A8D5-9CE1-B44B-C1DFDCB73F3A}"/>
              </a:ext>
            </a:extLst>
          </p:cNvPr>
          <p:cNvSpPr/>
          <p:nvPr/>
        </p:nvSpPr>
        <p:spPr>
          <a:xfrm>
            <a:off x="101896" y="864760"/>
            <a:ext cx="8940205" cy="5454713"/>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20000"/>
                  <a:lumOff val="80000"/>
                </a:schemeClr>
              </a:solidFill>
            </a:endParaRPr>
          </a:p>
        </p:txBody>
      </p:sp>
      <p:sp>
        <p:nvSpPr>
          <p:cNvPr id="3" name="Date Placeholder 2">
            <a:extLst>
              <a:ext uri="{FF2B5EF4-FFF2-40B4-BE49-F238E27FC236}">
                <a16:creationId xmlns:a16="http://schemas.microsoft.com/office/drawing/2014/main" id="{6B2C005E-5CCC-47F5-255A-BFBD8B7F2773}"/>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4" name="Rectangle 3">
            <a:extLst>
              <a:ext uri="{FF2B5EF4-FFF2-40B4-BE49-F238E27FC236}">
                <a16:creationId xmlns:a16="http://schemas.microsoft.com/office/drawing/2014/main" id="{D0D1AC42-CD8A-9964-F872-4870C46F4170}"/>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ED86D215-8862-FEEB-06CC-770297EB996B}"/>
              </a:ext>
            </a:extLst>
          </p:cNvPr>
          <p:cNvPicPr>
            <a:picLocks noChangeAspect="1"/>
          </p:cNvPicPr>
          <p:nvPr/>
        </p:nvPicPr>
        <p:blipFill>
          <a:blip r:embed="rId2"/>
          <a:srcRect t="1" r="12388" b="-6195"/>
          <a:stretch/>
        </p:blipFill>
        <p:spPr>
          <a:xfrm>
            <a:off x="7292898" y="6580867"/>
            <a:ext cx="1518807" cy="277133"/>
          </a:xfrm>
          <a:prstGeom prst="rect">
            <a:avLst/>
          </a:prstGeom>
        </p:spPr>
      </p:pic>
      <p:sp>
        <p:nvSpPr>
          <p:cNvPr id="6" name="Rectangle 5">
            <a:extLst>
              <a:ext uri="{FF2B5EF4-FFF2-40B4-BE49-F238E27FC236}">
                <a16:creationId xmlns:a16="http://schemas.microsoft.com/office/drawing/2014/main" id="{0A6BF642-F8F5-8DF3-5ECF-76D54EE497A0}"/>
              </a:ext>
            </a:extLst>
          </p:cNvPr>
          <p:cNvSpPr/>
          <p:nvPr/>
        </p:nvSpPr>
        <p:spPr>
          <a:xfrm>
            <a:off x="2380890" y="183632"/>
            <a:ext cx="4382219"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43DCA1E0-3A5A-E0E7-7A39-E73798594AB5}"/>
              </a:ext>
            </a:extLst>
          </p:cNvPr>
          <p:cNvSpPr txBox="1"/>
          <p:nvPr/>
        </p:nvSpPr>
        <p:spPr>
          <a:xfrm>
            <a:off x="2449901" y="112142"/>
            <a:ext cx="4313208" cy="589072"/>
          </a:xfrm>
          <a:prstGeom prst="rect">
            <a:avLst/>
          </a:prstGeom>
          <a:noFill/>
        </p:spPr>
        <p:txBody>
          <a:bodyPr wrap="square">
            <a:spAutoFit/>
          </a:bodyPr>
          <a:lstStyle/>
          <a:p>
            <a:pPr algn="ctr">
              <a:lnSpc>
                <a:spcPct val="150000"/>
              </a:lnSpc>
            </a:pPr>
            <a:r>
              <a:rPr lang="en-US" sz="2400" b="1" dirty="0">
                <a:solidFill>
                  <a:schemeClr val="bg1"/>
                </a:solidFill>
              </a:rPr>
              <a:t>Architecture Solution Example 1 </a:t>
            </a:r>
          </a:p>
        </p:txBody>
      </p:sp>
      <p:pic>
        <p:nvPicPr>
          <p:cNvPr id="9" name="Picture 8">
            <a:extLst>
              <a:ext uri="{FF2B5EF4-FFF2-40B4-BE49-F238E27FC236}">
                <a16:creationId xmlns:a16="http://schemas.microsoft.com/office/drawing/2014/main" id="{793545FD-BEB7-D2A2-A514-4A3ADCB09E31}"/>
              </a:ext>
            </a:extLst>
          </p:cNvPr>
          <p:cNvPicPr>
            <a:picLocks noChangeAspect="1"/>
          </p:cNvPicPr>
          <p:nvPr/>
        </p:nvPicPr>
        <p:blipFill>
          <a:blip r:embed="rId3"/>
          <a:stretch>
            <a:fillRect/>
          </a:stretch>
        </p:blipFill>
        <p:spPr>
          <a:xfrm>
            <a:off x="324420" y="1173670"/>
            <a:ext cx="3868270" cy="833879"/>
          </a:xfrm>
          <a:prstGeom prst="rect">
            <a:avLst/>
          </a:prstGeom>
          <a:ln w="88900" cap="sq" cmpd="thickThin">
            <a:solidFill>
              <a:srgbClr val="000000"/>
            </a:solidFill>
            <a:prstDash val="solid"/>
            <a:miter lim="800000"/>
          </a:ln>
          <a:effectLst>
            <a:innerShdw blurRad="76200">
              <a:srgbClr val="000000"/>
            </a:innerShdw>
          </a:effectLst>
        </p:spPr>
      </p:pic>
      <p:pic>
        <p:nvPicPr>
          <p:cNvPr id="11" name="Picture 10">
            <a:extLst>
              <a:ext uri="{FF2B5EF4-FFF2-40B4-BE49-F238E27FC236}">
                <a16:creationId xmlns:a16="http://schemas.microsoft.com/office/drawing/2014/main" id="{C35700C1-A769-F923-3DED-61363B4C8EB6}"/>
              </a:ext>
            </a:extLst>
          </p:cNvPr>
          <p:cNvPicPr>
            <a:picLocks noChangeAspect="1"/>
          </p:cNvPicPr>
          <p:nvPr/>
        </p:nvPicPr>
        <p:blipFill>
          <a:blip r:embed="rId4"/>
          <a:stretch>
            <a:fillRect/>
          </a:stretch>
        </p:blipFill>
        <p:spPr>
          <a:xfrm>
            <a:off x="324420" y="2327746"/>
            <a:ext cx="3868270" cy="2202507"/>
          </a:xfrm>
          <a:prstGeom prst="rect">
            <a:avLst/>
          </a:prstGeom>
          <a:ln w="88900" cap="sq" cmpd="thickThin">
            <a:solidFill>
              <a:srgbClr val="000000"/>
            </a:solidFill>
            <a:prstDash val="solid"/>
            <a:miter lim="800000"/>
          </a:ln>
          <a:effectLst>
            <a:innerShdw blurRad="76200">
              <a:srgbClr val="000000"/>
            </a:innerShdw>
          </a:effectLst>
        </p:spPr>
      </p:pic>
      <p:pic>
        <p:nvPicPr>
          <p:cNvPr id="13" name="Picture 12">
            <a:extLst>
              <a:ext uri="{FF2B5EF4-FFF2-40B4-BE49-F238E27FC236}">
                <a16:creationId xmlns:a16="http://schemas.microsoft.com/office/drawing/2014/main" id="{3C75B1E4-882F-5C90-2712-A0AC2AF4EA7B}"/>
              </a:ext>
            </a:extLst>
          </p:cNvPr>
          <p:cNvPicPr>
            <a:picLocks noChangeAspect="1"/>
          </p:cNvPicPr>
          <p:nvPr/>
        </p:nvPicPr>
        <p:blipFill>
          <a:blip r:embed="rId5"/>
          <a:srcRect t="77786"/>
          <a:stretch/>
        </p:blipFill>
        <p:spPr>
          <a:xfrm>
            <a:off x="324420" y="4985928"/>
            <a:ext cx="8564170" cy="1007312"/>
          </a:xfrm>
          <a:prstGeom prst="rect">
            <a:avLst/>
          </a:prstGeom>
          <a:ln w="88900" cap="sq" cmpd="thickThin">
            <a:solidFill>
              <a:srgbClr val="000000"/>
            </a:solidFill>
            <a:prstDash val="solid"/>
            <a:miter lim="800000"/>
          </a:ln>
          <a:effectLst>
            <a:innerShdw blurRad="76200">
              <a:srgbClr val="000000"/>
            </a:innerShdw>
          </a:effectLst>
        </p:spPr>
      </p:pic>
      <p:pic>
        <p:nvPicPr>
          <p:cNvPr id="15" name="Picture 14">
            <a:extLst>
              <a:ext uri="{FF2B5EF4-FFF2-40B4-BE49-F238E27FC236}">
                <a16:creationId xmlns:a16="http://schemas.microsoft.com/office/drawing/2014/main" id="{5D7322B0-93C7-B46C-C68B-993560CDF6BB}"/>
              </a:ext>
            </a:extLst>
          </p:cNvPr>
          <p:cNvPicPr>
            <a:picLocks noChangeAspect="1"/>
          </p:cNvPicPr>
          <p:nvPr/>
        </p:nvPicPr>
        <p:blipFill>
          <a:blip r:embed="rId6"/>
          <a:stretch>
            <a:fillRect/>
          </a:stretch>
        </p:blipFill>
        <p:spPr>
          <a:xfrm>
            <a:off x="7108167" y="1172184"/>
            <a:ext cx="1688061" cy="3358069"/>
          </a:xfrm>
          <a:prstGeom prst="rect">
            <a:avLst/>
          </a:prstGeom>
          <a:ln w="88900" cap="sq" cmpd="thickThin">
            <a:solidFill>
              <a:srgbClr val="000000"/>
            </a:solidFill>
            <a:prstDash val="solid"/>
            <a:miter lim="800000"/>
          </a:ln>
          <a:effectLst>
            <a:innerShdw blurRad="76200">
              <a:srgbClr val="000000"/>
            </a:innerShdw>
          </a:effectLst>
        </p:spPr>
      </p:pic>
      <p:sp>
        <p:nvSpPr>
          <p:cNvPr id="17" name="Rectangle 16">
            <a:extLst>
              <a:ext uri="{FF2B5EF4-FFF2-40B4-BE49-F238E27FC236}">
                <a16:creationId xmlns:a16="http://schemas.microsoft.com/office/drawing/2014/main" id="{53B44702-D2B2-AEE1-E93B-2E145A21ACE4}"/>
              </a:ext>
            </a:extLst>
          </p:cNvPr>
          <p:cNvSpPr/>
          <p:nvPr/>
        </p:nvSpPr>
        <p:spPr>
          <a:xfrm>
            <a:off x="5279672" y="1525890"/>
            <a:ext cx="715641"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50A9F223-3B3C-7CCB-7883-8BA2317CC5FA}"/>
              </a:ext>
            </a:extLst>
          </p:cNvPr>
          <p:cNvSpPr txBox="1"/>
          <p:nvPr/>
        </p:nvSpPr>
        <p:spPr>
          <a:xfrm>
            <a:off x="5262177" y="1436784"/>
            <a:ext cx="776503" cy="382092"/>
          </a:xfrm>
          <a:prstGeom prst="rect">
            <a:avLst/>
          </a:prstGeom>
          <a:noFill/>
        </p:spPr>
        <p:txBody>
          <a:bodyPr wrap="square">
            <a:spAutoFit/>
          </a:bodyPr>
          <a:lstStyle/>
          <a:p>
            <a:pPr algn="ctr">
              <a:lnSpc>
                <a:spcPct val="150000"/>
              </a:lnSpc>
            </a:pPr>
            <a:r>
              <a:rPr lang="en-US" sz="1400" b="1" dirty="0"/>
              <a:t>Step 1</a:t>
            </a:r>
          </a:p>
        </p:txBody>
      </p:sp>
      <p:sp>
        <p:nvSpPr>
          <p:cNvPr id="19" name="Rectangle 18">
            <a:extLst>
              <a:ext uri="{FF2B5EF4-FFF2-40B4-BE49-F238E27FC236}">
                <a16:creationId xmlns:a16="http://schemas.microsoft.com/office/drawing/2014/main" id="{5E3BACF1-8CE2-84C5-0BF1-69FE9587A3C8}"/>
              </a:ext>
            </a:extLst>
          </p:cNvPr>
          <p:cNvSpPr/>
          <p:nvPr/>
        </p:nvSpPr>
        <p:spPr>
          <a:xfrm>
            <a:off x="5158910" y="2957766"/>
            <a:ext cx="974900"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9E6D0B04-0DD5-C1B1-AA54-A0CDD53AAC76}"/>
              </a:ext>
            </a:extLst>
          </p:cNvPr>
          <p:cNvSpPr txBox="1"/>
          <p:nvPr/>
        </p:nvSpPr>
        <p:spPr>
          <a:xfrm>
            <a:off x="5156446" y="2859844"/>
            <a:ext cx="974901" cy="382092"/>
          </a:xfrm>
          <a:prstGeom prst="rect">
            <a:avLst/>
          </a:prstGeom>
          <a:noFill/>
        </p:spPr>
        <p:txBody>
          <a:bodyPr wrap="square">
            <a:spAutoFit/>
          </a:bodyPr>
          <a:lstStyle/>
          <a:p>
            <a:pPr algn="ctr">
              <a:lnSpc>
                <a:spcPct val="150000"/>
              </a:lnSpc>
            </a:pPr>
            <a:r>
              <a:rPr lang="en-US" sz="1400" b="1" dirty="0"/>
              <a:t>Steps 2 - 6</a:t>
            </a:r>
          </a:p>
        </p:txBody>
      </p:sp>
      <p:sp>
        <p:nvSpPr>
          <p:cNvPr id="21" name="Rectangle 20">
            <a:extLst>
              <a:ext uri="{FF2B5EF4-FFF2-40B4-BE49-F238E27FC236}">
                <a16:creationId xmlns:a16="http://schemas.microsoft.com/office/drawing/2014/main" id="{6BD6C089-09D2-5420-6B48-4F151FCA40DB}"/>
              </a:ext>
            </a:extLst>
          </p:cNvPr>
          <p:cNvSpPr/>
          <p:nvPr/>
        </p:nvSpPr>
        <p:spPr>
          <a:xfrm>
            <a:off x="5273079" y="4228951"/>
            <a:ext cx="754697"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0D9B4A80-D1B2-FF6A-D737-251B97DF4646}"/>
              </a:ext>
            </a:extLst>
          </p:cNvPr>
          <p:cNvSpPr txBox="1"/>
          <p:nvPr/>
        </p:nvSpPr>
        <p:spPr>
          <a:xfrm>
            <a:off x="5279672" y="4131797"/>
            <a:ext cx="776503" cy="382092"/>
          </a:xfrm>
          <a:prstGeom prst="rect">
            <a:avLst/>
          </a:prstGeom>
          <a:noFill/>
        </p:spPr>
        <p:txBody>
          <a:bodyPr wrap="square">
            <a:spAutoFit/>
          </a:bodyPr>
          <a:lstStyle/>
          <a:p>
            <a:pPr algn="ctr">
              <a:lnSpc>
                <a:spcPct val="150000"/>
              </a:lnSpc>
            </a:pPr>
            <a:r>
              <a:rPr lang="en-US" sz="1400" b="1" dirty="0"/>
              <a:t>Step 7</a:t>
            </a:r>
          </a:p>
        </p:txBody>
      </p:sp>
      <p:cxnSp>
        <p:nvCxnSpPr>
          <p:cNvPr id="24" name="Straight Arrow Connector 23">
            <a:extLst>
              <a:ext uri="{FF2B5EF4-FFF2-40B4-BE49-F238E27FC236}">
                <a16:creationId xmlns:a16="http://schemas.microsoft.com/office/drawing/2014/main" id="{4F244EBA-2DF0-1D1B-7B63-EC32D1B6B5E3}"/>
              </a:ext>
            </a:extLst>
          </p:cNvPr>
          <p:cNvCxnSpPr>
            <a:cxnSpLocks/>
          </p:cNvCxnSpPr>
          <p:nvPr/>
        </p:nvCxnSpPr>
        <p:spPr>
          <a:xfrm flipH="1">
            <a:off x="4343520" y="1660828"/>
            <a:ext cx="91865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0D1A2325-4D19-1D6B-A5B2-2FF246EF1881}"/>
              </a:ext>
            </a:extLst>
          </p:cNvPr>
          <p:cNvCxnSpPr>
            <a:cxnSpLocks/>
          </p:cNvCxnSpPr>
          <p:nvPr/>
        </p:nvCxnSpPr>
        <p:spPr>
          <a:xfrm flipH="1">
            <a:off x="4293904" y="3092704"/>
            <a:ext cx="86254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A1A1235C-220B-9F7E-0026-73173707E854}"/>
              </a:ext>
            </a:extLst>
          </p:cNvPr>
          <p:cNvCxnSpPr>
            <a:cxnSpLocks/>
          </p:cNvCxnSpPr>
          <p:nvPr/>
        </p:nvCxnSpPr>
        <p:spPr>
          <a:xfrm flipH="1">
            <a:off x="4500511" y="4513889"/>
            <a:ext cx="1143385" cy="33710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E27CB125-AD6A-F024-6235-6D3013785344}"/>
              </a:ext>
            </a:extLst>
          </p:cNvPr>
          <p:cNvCxnSpPr>
            <a:cxnSpLocks/>
            <a:stCxn id="22" idx="3"/>
          </p:cNvCxnSpPr>
          <p:nvPr/>
        </p:nvCxnSpPr>
        <p:spPr>
          <a:xfrm flipV="1">
            <a:off x="6056175" y="2859844"/>
            <a:ext cx="937714" cy="14629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722322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597FD-AD31-FE9D-74C2-E5C3BC859804}"/>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2CC5BAE4-3E0E-4CB9-141F-0E1DDDD465B5}"/>
              </a:ext>
            </a:extLst>
          </p:cNvPr>
          <p:cNvSpPr/>
          <p:nvPr/>
        </p:nvSpPr>
        <p:spPr>
          <a:xfrm>
            <a:off x="101896" y="864760"/>
            <a:ext cx="8940205" cy="5454713"/>
          </a:xfrm>
          <a:prstGeom prst="rect">
            <a:avLst/>
          </a:prstGeom>
          <a:solidFill>
            <a:srgbClr val="EAEE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20000"/>
                  <a:lumOff val="80000"/>
                </a:schemeClr>
              </a:solidFill>
            </a:endParaRPr>
          </a:p>
        </p:txBody>
      </p:sp>
      <p:sp>
        <p:nvSpPr>
          <p:cNvPr id="3" name="Date Placeholder 2">
            <a:extLst>
              <a:ext uri="{FF2B5EF4-FFF2-40B4-BE49-F238E27FC236}">
                <a16:creationId xmlns:a16="http://schemas.microsoft.com/office/drawing/2014/main" id="{F1332A58-1ABD-4466-DF4F-9EEC35D1EF7E}"/>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4" name="Rectangle 3">
            <a:extLst>
              <a:ext uri="{FF2B5EF4-FFF2-40B4-BE49-F238E27FC236}">
                <a16:creationId xmlns:a16="http://schemas.microsoft.com/office/drawing/2014/main" id="{C34118F5-3BFF-F00E-9CEF-F5720FB9E385}"/>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0EA4E05E-0970-44FE-02E5-1BB836AEA0C8}"/>
              </a:ext>
            </a:extLst>
          </p:cNvPr>
          <p:cNvPicPr>
            <a:picLocks noChangeAspect="1"/>
          </p:cNvPicPr>
          <p:nvPr/>
        </p:nvPicPr>
        <p:blipFill>
          <a:blip r:embed="rId2"/>
          <a:srcRect t="1" r="12388" b="-6195"/>
          <a:stretch/>
        </p:blipFill>
        <p:spPr>
          <a:xfrm>
            <a:off x="7292898" y="6580867"/>
            <a:ext cx="1518807" cy="277133"/>
          </a:xfrm>
          <a:prstGeom prst="rect">
            <a:avLst/>
          </a:prstGeom>
        </p:spPr>
      </p:pic>
      <p:sp>
        <p:nvSpPr>
          <p:cNvPr id="6" name="Rectangle 5">
            <a:extLst>
              <a:ext uri="{FF2B5EF4-FFF2-40B4-BE49-F238E27FC236}">
                <a16:creationId xmlns:a16="http://schemas.microsoft.com/office/drawing/2014/main" id="{F400E7A6-DF2B-869E-8C20-1FF9E10B7E97}"/>
              </a:ext>
            </a:extLst>
          </p:cNvPr>
          <p:cNvSpPr/>
          <p:nvPr/>
        </p:nvSpPr>
        <p:spPr>
          <a:xfrm>
            <a:off x="2380890" y="183632"/>
            <a:ext cx="4382219"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1F9063D1-794E-956C-B7BF-2F5CFE029368}"/>
              </a:ext>
            </a:extLst>
          </p:cNvPr>
          <p:cNvSpPr txBox="1"/>
          <p:nvPr/>
        </p:nvSpPr>
        <p:spPr>
          <a:xfrm>
            <a:off x="2449901" y="112142"/>
            <a:ext cx="4313208" cy="589072"/>
          </a:xfrm>
          <a:prstGeom prst="rect">
            <a:avLst/>
          </a:prstGeom>
          <a:noFill/>
        </p:spPr>
        <p:txBody>
          <a:bodyPr wrap="square">
            <a:spAutoFit/>
          </a:bodyPr>
          <a:lstStyle/>
          <a:p>
            <a:pPr algn="ctr">
              <a:lnSpc>
                <a:spcPct val="150000"/>
              </a:lnSpc>
            </a:pPr>
            <a:r>
              <a:rPr lang="en-US" sz="2400" b="1" dirty="0">
                <a:solidFill>
                  <a:schemeClr val="bg1"/>
                </a:solidFill>
              </a:rPr>
              <a:t>Architecture Solution Example 2 </a:t>
            </a:r>
          </a:p>
        </p:txBody>
      </p:sp>
      <p:sp>
        <p:nvSpPr>
          <p:cNvPr id="17" name="Rectangle 16">
            <a:extLst>
              <a:ext uri="{FF2B5EF4-FFF2-40B4-BE49-F238E27FC236}">
                <a16:creationId xmlns:a16="http://schemas.microsoft.com/office/drawing/2014/main" id="{415B4A59-6A1E-6747-4B22-342834DA2605}"/>
              </a:ext>
            </a:extLst>
          </p:cNvPr>
          <p:cNvSpPr/>
          <p:nvPr/>
        </p:nvSpPr>
        <p:spPr>
          <a:xfrm>
            <a:off x="4782049" y="1449322"/>
            <a:ext cx="715641"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9C68D64A-730B-7EBE-7DDC-842D500CAE8E}"/>
              </a:ext>
            </a:extLst>
          </p:cNvPr>
          <p:cNvSpPr txBox="1"/>
          <p:nvPr/>
        </p:nvSpPr>
        <p:spPr>
          <a:xfrm>
            <a:off x="4744593" y="1362344"/>
            <a:ext cx="776503" cy="382092"/>
          </a:xfrm>
          <a:prstGeom prst="rect">
            <a:avLst/>
          </a:prstGeom>
          <a:noFill/>
        </p:spPr>
        <p:txBody>
          <a:bodyPr wrap="square">
            <a:spAutoFit/>
          </a:bodyPr>
          <a:lstStyle/>
          <a:p>
            <a:pPr algn="ctr">
              <a:lnSpc>
                <a:spcPct val="150000"/>
              </a:lnSpc>
            </a:pPr>
            <a:r>
              <a:rPr lang="en-US" sz="1400" b="1" dirty="0"/>
              <a:t>Step 1</a:t>
            </a:r>
          </a:p>
        </p:txBody>
      </p:sp>
      <p:sp>
        <p:nvSpPr>
          <p:cNvPr id="19" name="Rectangle 18">
            <a:extLst>
              <a:ext uri="{FF2B5EF4-FFF2-40B4-BE49-F238E27FC236}">
                <a16:creationId xmlns:a16="http://schemas.microsoft.com/office/drawing/2014/main" id="{536B0C9F-2630-15CC-7594-E28DFF07F802}"/>
              </a:ext>
            </a:extLst>
          </p:cNvPr>
          <p:cNvSpPr/>
          <p:nvPr/>
        </p:nvSpPr>
        <p:spPr>
          <a:xfrm>
            <a:off x="1424173" y="4371344"/>
            <a:ext cx="974900"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16C46B96-AE16-1737-937D-CC4D72467B2E}"/>
              </a:ext>
            </a:extLst>
          </p:cNvPr>
          <p:cNvSpPr txBox="1"/>
          <p:nvPr/>
        </p:nvSpPr>
        <p:spPr>
          <a:xfrm>
            <a:off x="1420015" y="4285007"/>
            <a:ext cx="974901" cy="382092"/>
          </a:xfrm>
          <a:prstGeom prst="rect">
            <a:avLst/>
          </a:prstGeom>
          <a:noFill/>
        </p:spPr>
        <p:txBody>
          <a:bodyPr wrap="square">
            <a:spAutoFit/>
          </a:bodyPr>
          <a:lstStyle/>
          <a:p>
            <a:pPr algn="ctr">
              <a:lnSpc>
                <a:spcPct val="150000"/>
              </a:lnSpc>
            </a:pPr>
            <a:r>
              <a:rPr lang="en-US" sz="1400" b="1" dirty="0"/>
              <a:t>Steps 2 - 6</a:t>
            </a:r>
          </a:p>
        </p:txBody>
      </p:sp>
      <p:sp>
        <p:nvSpPr>
          <p:cNvPr id="21" name="Rectangle 20">
            <a:extLst>
              <a:ext uri="{FF2B5EF4-FFF2-40B4-BE49-F238E27FC236}">
                <a16:creationId xmlns:a16="http://schemas.microsoft.com/office/drawing/2014/main" id="{6E3BBA41-0E19-F832-C8BC-61074680F891}"/>
              </a:ext>
            </a:extLst>
          </p:cNvPr>
          <p:cNvSpPr/>
          <p:nvPr/>
        </p:nvSpPr>
        <p:spPr>
          <a:xfrm>
            <a:off x="5273079" y="4228951"/>
            <a:ext cx="754697"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81E93E19-EB26-FC58-5523-F4A9BD18CD9C}"/>
              </a:ext>
            </a:extLst>
          </p:cNvPr>
          <p:cNvSpPr txBox="1"/>
          <p:nvPr/>
        </p:nvSpPr>
        <p:spPr>
          <a:xfrm>
            <a:off x="5279672" y="4131797"/>
            <a:ext cx="776503" cy="382092"/>
          </a:xfrm>
          <a:prstGeom prst="rect">
            <a:avLst/>
          </a:prstGeom>
          <a:noFill/>
        </p:spPr>
        <p:txBody>
          <a:bodyPr wrap="square">
            <a:spAutoFit/>
          </a:bodyPr>
          <a:lstStyle/>
          <a:p>
            <a:pPr algn="ctr">
              <a:lnSpc>
                <a:spcPct val="150000"/>
              </a:lnSpc>
            </a:pPr>
            <a:r>
              <a:rPr lang="en-US" sz="1400" b="1" dirty="0"/>
              <a:t>Step 7</a:t>
            </a:r>
          </a:p>
        </p:txBody>
      </p:sp>
      <p:cxnSp>
        <p:nvCxnSpPr>
          <p:cNvPr id="24" name="Straight Arrow Connector 23">
            <a:extLst>
              <a:ext uri="{FF2B5EF4-FFF2-40B4-BE49-F238E27FC236}">
                <a16:creationId xmlns:a16="http://schemas.microsoft.com/office/drawing/2014/main" id="{6C8003B7-85EC-E434-99A5-BB074845DB03}"/>
              </a:ext>
            </a:extLst>
          </p:cNvPr>
          <p:cNvCxnSpPr>
            <a:cxnSpLocks/>
          </p:cNvCxnSpPr>
          <p:nvPr/>
        </p:nvCxnSpPr>
        <p:spPr>
          <a:xfrm flipH="1">
            <a:off x="3825936" y="1586388"/>
            <a:ext cx="91865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395F1769-3AE5-CF9B-6548-A17FAAB8061D}"/>
              </a:ext>
            </a:extLst>
          </p:cNvPr>
          <p:cNvCxnSpPr>
            <a:cxnSpLocks/>
            <a:stCxn id="20" idx="3"/>
          </p:cNvCxnSpPr>
          <p:nvPr/>
        </p:nvCxnSpPr>
        <p:spPr>
          <a:xfrm flipV="1">
            <a:off x="2394916" y="4171382"/>
            <a:ext cx="783318" cy="30467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2C67754E-AA06-566F-0E4D-5EC83C5BBD26}"/>
              </a:ext>
            </a:extLst>
          </p:cNvPr>
          <p:cNvCxnSpPr>
            <a:cxnSpLocks/>
          </p:cNvCxnSpPr>
          <p:nvPr/>
        </p:nvCxnSpPr>
        <p:spPr>
          <a:xfrm flipH="1">
            <a:off x="4287328" y="4513889"/>
            <a:ext cx="1356568" cy="4138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F307BA5E-099F-8D2A-70C1-D91409EDFCD3}"/>
              </a:ext>
            </a:extLst>
          </p:cNvPr>
          <p:cNvCxnSpPr>
            <a:cxnSpLocks/>
            <a:stCxn id="22" idx="3"/>
          </p:cNvCxnSpPr>
          <p:nvPr/>
        </p:nvCxnSpPr>
        <p:spPr>
          <a:xfrm flipV="1">
            <a:off x="6056175" y="2875301"/>
            <a:ext cx="963945" cy="14475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AB33BD37-D9F9-AFF2-736C-FA044E5EDCA4}"/>
              </a:ext>
            </a:extLst>
          </p:cNvPr>
          <p:cNvPicPr>
            <a:picLocks noChangeAspect="1"/>
          </p:cNvPicPr>
          <p:nvPr/>
        </p:nvPicPr>
        <p:blipFill>
          <a:blip r:embed="rId3"/>
          <a:stretch>
            <a:fillRect/>
          </a:stretch>
        </p:blipFill>
        <p:spPr>
          <a:xfrm>
            <a:off x="279791" y="1229953"/>
            <a:ext cx="3404627" cy="754119"/>
          </a:xfrm>
          <a:prstGeom prst="rect">
            <a:avLst/>
          </a:prstGeom>
          <a:ln w="88900" cap="sq" cmpd="thickThin">
            <a:solidFill>
              <a:srgbClr val="000000"/>
            </a:solidFill>
            <a:prstDash val="solid"/>
            <a:miter lim="800000"/>
          </a:ln>
          <a:effectLst>
            <a:innerShdw blurRad="76200">
              <a:srgbClr val="000000"/>
            </a:innerShdw>
          </a:effectLst>
        </p:spPr>
      </p:pic>
      <p:pic>
        <p:nvPicPr>
          <p:cNvPr id="12" name="Picture 11">
            <a:extLst>
              <a:ext uri="{FF2B5EF4-FFF2-40B4-BE49-F238E27FC236}">
                <a16:creationId xmlns:a16="http://schemas.microsoft.com/office/drawing/2014/main" id="{42D4D949-69DF-F484-4972-268EA88D4C8D}"/>
              </a:ext>
            </a:extLst>
          </p:cNvPr>
          <p:cNvPicPr>
            <a:picLocks noChangeAspect="1"/>
          </p:cNvPicPr>
          <p:nvPr/>
        </p:nvPicPr>
        <p:blipFill>
          <a:blip r:embed="rId4"/>
          <a:stretch>
            <a:fillRect/>
          </a:stretch>
        </p:blipFill>
        <p:spPr>
          <a:xfrm>
            <a:off x="276096" y="2252832"/>
            <a:ext cx="5482654" cy="1756716"/>
          </a:xfrm>
          <a:prstGeom prst="rect">
            <a:avLst/>
          </a:prstGeom>
          <a:ln w="88900" cap="sq" cmpd="thickThin">
            <a:solidFill>
              <a:srgbClr val="000000"/>
            </a:solidFill>
            <a:prstDash val="solid"/>
            <a:miter lim="800000"/>
          </a:ln>
          <a:effectLst>
            <a:innerShdw blurRad="76200">
              <a:srgbClr val="000000"/>
            </a:innerShdw>
          </a:effectLst>
        </p:spPr>
      </p:pic>
      <p:pic>
        <p:nvPicPr>
          <p:cNvPr id="23" name="Picture 22">
            <a:extLst>
              <a:ext uri="{FF2B5EF4-FFF2-40B4-BE49-F238E27FC236}">
                <a16:creationId xmlns:a16="http://schemas.microsoft.com/office/drawing/2014/main" id="{AB0F4E6A-67BF-335B-7280-5DAF1414C6FA}"/>
              </a:ext>
            </a:extLst>
          </p:cNvPr>
          <p:cNvPicPr>
            <a:picLocks noChangeAspect="1"/>
          </p:cNvPicPr>
          <p:nvPr/>
        </p:nvPicPr>
        <p:blipFill>
          <a:blip r:embed="rId5"/>
          <a:stretch>
            <a:fillRect/>
          </a:stretch>
        </p:blipFill>
        <p:spPr>
          <a:xfrm>
            <a:off x="7142975" y="1229953"/>
            <a:ext cx="1619476" cy="3400900"/>
          </a:xfrm>
          <a:prstGeom prst="rect">
            <a:avLst/>
          </a:prstGeom>
          <a:ln w="88900" cap="sq" cmpd="thickThin">
            <a:solidFill>
              <a:srgbClr val="000000"/>
            </a:solidFill>
            <a:prstDash val="solid"/>
            <a:miter lim="800000"/>
          </a:ln>
          <a:effectLst>
            <a:innerShdw blurRad="76200">
              <a:srgbClr val="000000"/>
            </a:innerShdw>
          </a:effectLst>
        </p:spPr>
      </p:pic>
      <p:pic>
        <p:nvPicPr>
          <p:cNvPr id="26" name="Picture 25">
            <a:extLst>
              <a:ext uri="{FF2B5EF4-FFF2-40B4-BE49-F238E27FC236}">
                <a16:creationId xmlns:a16="http://schemas.microsoft.com/office/drawing/2014/main" id="{B928A223-E270-0B0E-BC62-CAB7A227E555}"/>
              </a:ext>
            </a:extLst>
          </p:cNvPr>
          <p:cNvPicPr>
            <a:picLocks noChangeAspect="1"/>
          </p:cNvPicPr>
          <p:nvPr/>
        </p:nvPicPr>
        <p:blipFill>
          <a:blip r:embed="rId6"/>
          <a:stretch>
            <a:fillRect/>
          </a:stretch>
        </p:blipFill>
        <p:spPr>
          <a:xfrm>
            <a:off x="276095" y="5080920"/>
            <a:ext cx="8533839" cy="923712"/>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1265424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55E086-11D3-7872-A321-ED3E92755735}"/>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312F5972-9741-7950-913E-EBE535B033C8}"/>
              </a:ext>
            </a:extLst>
          </p:cNvPr>
          <p:cNvSpPr/>
          <p:nvPr/>
        </p:nvSpPr>
        <p:spPr>
          <a:xfrm>
            <a:off x="101896" y="864760"/>
            <a:ext cx="8940205" cy="5454713"/>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20000"/>
                  <a:lumOff val="80000"/>
                </a:schemeClr>
              </a:solidFill>
            </a:endParaRPr>
          </a:p>
        </p:txBody>
      </p:sp>
      <p:sp>
        <p:nvSpPr>
          <p:cNvPr id="3" name="Date Placeholder 2">
            <a:extLst>
              <a:ext uri="{FF2B5EF4-FFF2-40B4-BE49-F238E27FC236}">
                <a16:creationId xmlns:a16="http://schemas.microsoft.com/office/drawing/2014/main" id="{A0DBC34B-9554-2624-300B-87622BA56C62}"/>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4" name="Rectangle 3">
            <a:extLst>
              <a:ext uri="{FF2B5EF4-FFF2-40B4-BE49-F238E27FC236}">
                <a16:creationId xmlns:a16="http://schemas.microsoft.com/office/drawing/2014/main" id="{D5E267E9-C377-FF96-F4CA-2E45A52FA14C}"/>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C5F7B47B-FD87-F26F-19A3-88ABB895DF93}"/>
              </a:ext>
            </a:extLst>
          </p:cNvPr>
          <p:cNvPicPr>
            <a:picLocks noChangeAspect="1"/>
          </p:cNvPicPr>
          <p:nvPr/>
        </p:nvPicPr>
        <p:blipFill>
          <a:blip r:embed="rId2"/>
          <a:srcRect t="1" r="12388" b="-6195"/>
          <a:stretch/>
        </p:blipFill>
        <p:spPr>
          <a:xfrm>
            <a:off x="7292898" y="6580867"/>
            <a:ext cx="1518807" cy="277133"/>
          </a:xfrm>
          <a:prstGeom prst="rect">
            <a:avLst/>
          </a:prstGeom>
        </p:spPr>
      </p:pic>
      <p:sp>
        <p:nvSpPr>
          <p:cNvPr id="6" name="Rectangle 5">
            <a:extLst>
              <a:ext uri="{FF2B5EF4-FFF2-40B4-BE49-F238E27FC236}">
                <a16:creationId xmlns:a16="http://schemas.microsoft.com/office/drawing/2014/main" id="{7CD7ECB3-0E25-BA8A-0E6D-5BE799F75468}"/>
              </a:ext>
            </a:extLst>
          </p:cNvPr>
          <p:cNvSpPr/>
          <p:nvPr/>
        </p:nvSpPr>
        <p:spPr>
          <a:xfrm>
            <a:off x="2380890" y="183632"/>
            <a:ext cx="4382219"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7B6D74-AD2D-1084-D6B7-5E462993C4DE}"/>
              </a:ext>
            </a:extLst>
          </p:cNvPr>
          <p:cNvSpPr txBox="1"/>
          <p:nvPr/>
        </p:nvSpPr>
        <p:spPr>
          <a:xfrm>
            <a:off x="2449901" y="112142"/>
            <a:ext cx="4313208" cy="589072"/>
          </a:xfrm>
          <a:prstGeom prst="rect">
            <a:avLst/>
          </a:prstGeom>
          <a:noFill/>
        </p:spPr>
        <p:txBody>
          <a:bodyPr wrap="square">
            <a:spAutoFit/>
          </a:bodyPr>
          <a:lstStyle/>
          <a:p>
            <a:pPr algn="ctr">
              <a:lnSpc>
                <a:spcPct val="150000"/>
              </a:lnSpc>
            </a:pPr>
            <a:r>
              <a:rPr lang="en-US" sz="2400" b="1" dirty="0">
                <a:solidFill>
                  <a:schemeClr val="bg1"/>
                </a:solidFill>
              </a:rPr>
              <a:t>Architecture Solution Example 3 </a:t>
            </a:r>
          </a:p>
        </p:txBody>
      </p:sp>
      <p:sp>
        <p:nvSpPr>
          <p:cNvPr id="17" name="Rectangle 16">
            <a:extLst>
              <a:ext uri="{FF2B5EF4-FFF2-40B4-BE49-F238E27FC236}">
                <a16:creationId xmlns:a16="http://schemas.microsoft.com/office/drawing/2014/main" id="{B22B942A-405F-C335-875C-7C70284FAE45}"/>
              </a:ext>
            </a:extLst>
          </p:cNvPr>
          <p:cNvSpPr/>
          <p:nvPr/>
        </p:nvSpPr>
        <p:spPr>
          <a:xfrm>
            <a:off x="6127251" y="1415764"/>
            <a:ext cx="715641"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B7BB12E7-99F1-DB51-E22F-4E3EE280E312}"/>
              </a:ext>
            </a:extLst>
          </p:cNvPr>
          <p:cNvSpPr txBox="1"/>
          <p:nvPr/>
        </p:nvSpPr>
        <p:spPr>
          <a:xfrm>
            <a:off x="6096820" y="1329056"/>
            <a:ext cx="776503" cy="382092"/>
          </a:xfrm>
          <a:prstGeom prst="rect">
            <a:avLst/>
          </a:prstGeom>
          <a:noFill/>
        </p:spPr>
        <p:txBody>
          <a:bodyPr wrap="square">
            <a:spAutoFit/>
          </a:bodyPr>
          <a:lstStyle/>
          <a:p>
            <a:pPr algn="ctr">
              <a:lnSpc>
                <a:spcPct val="150000"/>
              </a:lnSpc>
            </a:pPr>
            <a:r>
              <a:rPr lang="en-US" sz="1400" b="1" dirty="0"/>
              <a:t>Step 1</a:t>
            </a:r>
          </a:p>
        </p:txBody>
      </p:sp>
      <p:sp>
        <p:nvSpPr>
          <p:cNvPr id="19" name="Rectangle 18">
            <a:extLst>
              <a:ext uri="{FF2B5EF4-FFF2-40B4-BE49-F238E27FC236}">
                <a16:creationId xmlns:a16="http://schemas.microsoft.com/office/drawing/2014/main" id="{84542F0B-67EA-2BFE-844D-CB14412E4CC3}"/>
              </a:ext>
            </a:extLst>
          </p:cNvPr>
          <p:cNvSpPr/>
          <p:nvPr/>
        </p:nvSpPr>
        <p:spPr>
          <a:xfrm>
            <a:off x="4580888" y="2487745"/>
            <a:ext cx="974900"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43C389CD-5F18-8DE0-43BE-95E6457C4609}"/>
              </a:ext>
            </a:extLst>
          </p:cNvPr>
          <p:cNvSpPr txBox="1"/>
          <p:nvPr/>
        </p:nvSpPr>
        <p:spPr>
          <a:xfrm>
            <a:off x="4581630" y="2394212"/>
            <a:ext cx="974901" cy="382092"/>
          </a:xfrm>
          <a:prstGeom prst="rect">
            <a:avLst/>
          </a:prstGeom>
          <a:noFill/>
        </p:spPr>
        <p:txBody>
          <a:bodyPr wrap="square">
            <a:spAutoFit/>
          </a:bodyPr>
          <a:lstStyle/>
          <a:p>
            <a:pPr algn="ctr">
              <a:lnSpc>
                <a:spcPct val="150000"/>
              </a:lnSpc>
            </a:pPr>
            <a:r>
              <a:rPr lang="en-US" sz="1400" b="1" dirty="0"/>
              <a:t>Steps 2 - 6</a:t>
            </a:r>
          </a:p>
        </p:txBody>
      </p:sp>
      <p:sp>
        <p:nvSpPr>
          <p:cNvPr id="21" name="Rectangle 20">
            <a:extLst>
              <a:ext uri="{FF2B5EF4-FFF2-40B4-BE49-F238E27FC236}">
                <a16:creationId xmlns:a16="http://schemas.microsoft.com/office/drawing/2014/main" id="{C87A28E5-B31B-8718-0E6E-57EEB143C701}"/>
              </a:ext>
            </a:extLst>
          </p:cNvPr>
          <p:cNvSpPr/>
          <p:nvPr/>
        </p:nvSpPr>
        <p:spPr>
          <a:xfrm>
            <a:off x="4700642" y="4444662"/>
            <a:ext cx="754697"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3BFB04FF-99E1-FEC9-E952-228AFE5CA9F1}"/>
              </a:ext>
            </a:extLst>
          </p:cNvPr>
          <p:cNvSpPr txBox="1"/>
          <p:nvPr/>
        </p:nvSpPr>
        <p:spPr>
          <a:xfrm>
            <a:off x="4703603" y="4350777"/>
            <a:ext cx="776503" cy="382092"/>
          </a:xfrm>
          <a:prstGeom prst="rect">
            <a:avLst/>
          </a:prstGeom>
          <a:noFill/>
        </p:spPr>
        <p:txBody>
          <a:bodyPr wrap="square">
            <a:spAutoFit/>
          </a:bodyPr>
          <a:lstStyle/>
          <a:p>
            <a:pPr algn="ctr">
              <a:lnSpc>
                <a:spcPct val="150000"/>
              </a:lnSpc>
            </a:pPr>
            <a:r>
              <a:rPr lang="en-US" sz="1400" b="1" dirty="0"/>
              <a:t>Step 7</a:t>
            </a:r>
          </a:p>
        </p:txBody>
      </p:sp>
      <p:cxnSp>
        <p:nvCxnSpPr>
          <p:cNvPr id="24" name="Straight Arrow Connector 23">
            <a:extLst>
              <a:ext uri="{FF2B5EF4-FFF2-40B4-BE49-F238E27FC236}">
                <a16:creationId xmlns:a16="http://schemas.microsoft.com/office/drawing/2014/main" id="{F87A9EA7-6197-E043-089F-7781D69B5DAE}"/>
              </a:ext>
            </a:extLst>
          </p:cNvPr>
          <p:cNvCxnSpPr>
            <a:cxnSpLocks/>
          </p:cNvCxnSpPr>
          <p:nvPr/>
        </p:nvCxnSpPr>
        <p:spPr>
          <a:xfrm flipH="1">
            <a:off x="5208594" y="1550703"/>
            <a:ext cx="91865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E1A28E96-1C7A-D364-29BA-917781661E13}"/>
              </a:ext>
            </a:extLst>
          </p:cNvPr>
          <p:cNvCxnSpPr>
            <a:cxnSpLocks/>
          </p:cNvCxnSpPr>
          <p:nvPr/>
        </p:nvCxnSpPr>
        <p:spPr>
          <a:xfrm flipH="1">
            <a:off x="4412111" y="2772943"/>
            <a:ext cx="663834" cy="71654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DB11AF6E-78AE-89A1-CBA3-CB2F524B85E4}"/>
              </a:ext>
            </a:extLst>
          </p:cNvPr>
          <p:cNvCxnSpPr>
            <a:cxnSpLocks/>
          </p:cNvCxnSpPr>
          <p:nvPr/>
        </p:nvCxnSpPr>
        <p:spPr>
          <a:xfrm flipH="1">
            <a:off x="4226943" y="4732869"/>
            <a:ext cx="849002" cy="2666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575715FF-E7F7-C50F-B2A8-C4B4F612243A}"/>
              </a:ext>
            </a:extLst>
          </p:cNvPr>
          <p:cNvCxnSpPr>
            <a:cxnSpLocks/>
            <a:stCxn id="22" idx="3"/>
          </p:cNvCxnSpPr>
          <p:nvPr/>
        </p:nvCxnSpPr>
        <p:spPr>
          <a:xfrm flipV="1">
            <a:off x="5480106" y="3296387"/>
            <a:ext cx="298149" cy="124543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F2C767DB-0E9D-AD6D-1E44-7FCBE45CBC7E}"/>
              </a:ext>
            </a:extLst>
          </p:cNvPr>
          <p:cNvPicPr>
            <a:picLocks noChangeAspect="1"/>
          </p:cNvPicPr>
          <p:nvPr/>
        </p:nvPicPr>
        <p:blipFill>
          <a:blip r:embed="rId3"/>
          <a:stretch>
            <a:fillRect/>
          </a:stretch>
        </p:blipFill>
        <p:spPr>
          <a:xfrm>
            <a:off x="346854" y="1193466"/>
            <a:ext cx="4734586" cy="714475"/>
          </a:xfrm>
          <a:prstGeom prst="rect">
            <a:avLst/>
          </a:prstGeom>
          <a:ln w="88900" cap="sq" cmpd="thickThin">
            <a:solidFill>
              <a:srgbClr val="000000"/>
            </a:solidFill>
            <a:prstDash val="solid"/>
            <a:miter lim="800000"/>
          </a:ln>
          <a:effectLst>
            <a:innerShdw blurRad="76200">
              <a:srgbClr val="000000"/>
            </a:innerShdw>
          </a:effectLst>
        </p:spPr>
      </p:pic>
      <p:pic>
        <p:nvPicPr>
          <p:cNvPr id="11" name="Picture 10">
            <a:extLst>
              <a:ext uri="{FF2B5EF4-FFF2-40B4-BE49-F238E27FC236}">
                <a16:creationId xmlns:a16="http://schemas.microsoft.com/office/drawing/2014/main" id="{9E2E9497-D5E6-D440-A946-86B24EF18AB2}"/>
              </a:ext>
            </a:extLst>
          </p:cNvPr>
          <p:cNvPicPr>
            <a:picLocks noChangeAspect="1"/>
          </p:cNvPicPr>
          <p:nvPr/>
        </p:nvPicPr>
        <p:blipFill>
          <a:blip r:embed="rId4"/>
          <a:stretch>
            <a:fillRect/>
          </a:stretch>
        </p:blipFill>
        <p:spPr>
          <a:xfrm>
            <a:off x="346853" y="2380385"/>
            <a:ext cx="3952589" cy="2122532"/>
          </a:xfrm>
          <a:prstGeom prst="rect">
            <a:avLst/>
          </a:prstGeom>
          <a:ln w="88900" cap="sq" cmpd="thickThin">
            <a:solidFill>
              <a:srgbClr val="000000"/>
            </a:solidFill>
            <a:prstDash val="solid"/>
            <a:miter lim="800000"/>
          </a:ln>
          <a:effectLst>
            <a:innerShdw blurRad="76200">
              <a:srgbClr val="000000"/>
            </a:innerShdw>
          </a:effectLst>
        </p:spPr>
      </p:pic>
      <p:pic>
        <p:nvPicPr>
          <p:cNvPr id="14" name="Picture 13">
            <a:extLst>
              <a:ext uri="{FF2B5EF4-FFF2-40B4-BE49-F238E27FC236}">
                <a16:creationId xmlns:a16="http://schemas.microsoft.com/office/drawing/2014/main" id="{C8024E28-06B6-0CFD-CDF9-1179FF4C1296}"/>
              </a:ext>
            </a:extLst>
          </p:cNvPr>
          <p:cNvPicPr>
            <a:picLocks noChangeAspect="1"/>
          </p:cNvPicPr>
          <p:nvPr/>
        </p:nvPicPr>
        <p:blipFill>
          <a:blip r:embed="rId5"/>
          <a:stretch>
            <a:fillRect/>
          </a:stretch>
        </p:blipFill>
        <p:spPr>
          <a:xfrm>
            <a:off x="5879447" y="1951076"/>
            <a:ext cx="2951510" cy="2667291"/>
          </a:xfrm>
          <a:prstGeom prst="rect">
            <a:avLst/>
          </a:prstGeom>
          <a:ln w="88900" cap="sq" cmpd="thickThin">
            <a:solidFill>
              <a:srgbClr val="000000"/>
            </a:solidFill>
            <a:prstDash val="solid"/>
            <a:miter lim="800000"/>
          </a:ln>
          <a:effectLst>
            <a:innerShdw blurRad="76200">
              <a:srgbClr val="000000"/>
            </a:innerShdw>
          </a:effectLst>
        </p:spPr>
      </p:pic>
      <p:pic>
        <p:nvPicPr>
          <p:cNvPr id="25" name="Picture 24">
            <a:extLst>
              <a:ext uri="{FF2B5EF4-FFF2-40B4-BE49-F238E27FC236}">
                <a16:creationId xmlns:a16="http://schemas.microsoft.com/office/drawing/2014/main" id="{0ADD1B35-529D-1743-7C80-109F6CC87061}"/>
              </a:ext>
            </a:extLst>
          </p:cNvPr>
          <p:cNvPicPr>
            <a:picLocks noChangeAspect="1"/>
          </p:cNvPicPr>
          <p:nvPr/>
        </p:nvPicPr>
        <p:blipFill>
          <a:blip r:embed="rId6"/>
          <a:stretch>
            <a:fillRect/>
          </a:stretch>
        </p:blipFill>
        <p:spPr>
          <a:xfrm>
            <a:off x="346853" y="5157132"/>
            <a:ext cx="8484103" cy="747775"/>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1668858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3F359-CF73-CAFB-DC88-53E045AA1335}"/>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ED9FDF8E-6ED2-7C05-377B-D91EE2480707}"/>
              </a:ext>
            </a:extLst>
          </p:cNvPr>
          <p:cNvSpPr/>
          <p:nvPr/>
        </p:nvSpPr>
        <p:spPr>
          <a:xfrm>
            <a:off x="99925" y="825317"/>
            <a:ext cx="8940205" cy="5454713"/>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20000"/>
                  <a:lumOff val="80000"/>
                </a:schemeClr>
              </a:solidFill>
            </a:endParaRPr>
          </a:p>
        </p:txBody>
      </p:sp>
      <p:sp>
        <p:nvSpPr>
          <p:cNvPr id="3" name="Date Placeholder 2">
            <a:extLst>
              <a:ext uri="{FF2B5EF4-FFF2-40B4-BE49-F238E27FC236}">
                <a16:creationId xmlns:a16="http://schemas.microsoft.com/office/drawing/2014/main" id="{9B8CD378-3833-3E03-27DD-97D51530B809}"/>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4" name="Rectangle 3">
            <a:extLst>
              <a:ext uri="{FF2B5EF4-FFF2-40B4-BE49-F238E27FC236}">
                <a16:creationId xmlns:a16="http://schemas.microsoft.com/office/drawing/2014/main" id="{E93256E3-C8A8-E624-C149-692FCB0CFC5E}"/>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4C280021-8E2D-846F-29DE-1DA829760489}"/>
              </a:ext>
            </a:extLst>
          </p:cNvPr>
          <p:cNvPicPr>
            <a:picLocks noChangeAspect="1"/>
          </p:cNvPicPr>
          <p:nvPr/>
        </p:nvPicPr>
        <p:blipFill>
          <a:blip r:embed="rId2"/>
          <a:srcRect t="1" r="12388" b="-6195"/>
          <a:stretch/>
        </p:blipFill>
        <p:spPr>
          <a:xfrm>
            <a:off x="7292898" y="6580867"/>
            <a:ext cx="1518807" cy="277133"/>
          </a:xfrm>
          <a:prstGeom prst="rect">
            <a:avLst/>
          </a:prstGeom>
        </p:spPr>
      </p:pic>
      <p:sp>
        <p:nvSpPr>
          <p:cNvPr id="6" name="Rectangle 5">
            <a:extLst>
              <a:ext uri="{FF2B5EF4-FFF2-40B4-BE49-F238E27FC236}">
                <a16:creationId xmlns:a16="http://schemas.microsoft.com/office/drawing/2014/main" id="{7706F600-ADDC-DDBD-A2B5-3A7BA93EEA4D}"/>
              </a:ext>
            </a:extLst>
          </p:cNvPr>
          <p:cNvSpPr/>
          <p:nvPr/>
        </p:nvSpPr>
        <p:spPr>
          <a:xfrm>
            <a:off x="2380890" y="183632"/>
            <a:ext cx="4382219"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CEE970A1-2B2F-21D2-817A-A181E899CADC}"/>
              </a:ext>
            </a:extLst>
          </p:cNvPr>
          <p:cNvSpPr txBox="1"/>
          <p:nvPr/>
        </p:nvSpPr>
        <p:spPr>
          <a:xfrm>
            <a:off x="2449901" y="112142"/>
            <a:ext cx="4313208" cy="589072"/>
          </a:xfrm>
          <a:prstGeom prst="rect">
            <a:avLst/>
          </a:prstGeom>
          <a:noFill/>
        </p:spPr>
        <p:txBody>
          <a:bodyPr wrap="square">
            <a:spAutoFit/>
          </a:bodyPr>
          <a:lstStyle/>
          <a:p>
            <a:pPr algn="ctr">
              <a:lnSpc>
                <a:spcPct val="150000"/>
              </a:lnSpc>
            </a:pPr>
            <a:r>
              <a:rPr lang="en-US" sz="2400" b="1" dirty="0">
                <a:solidFill>
                  <a:schemeClr val="bg1"/>
                </a:solidFill>
              </a:rPr>
              <a:t>Architecture Solution Example 4 </a:t>
            </a:r>
          </a:p>
        </p:txBody>
      </p:sp>
      <p:sp>
        <p:nvSpPr>
          <p:cNvPr id="17" name="Rectangle 16">
            <a:extLst>
              <a:ext uri="{FF2B5EF4-FFF2-40B4-BE49-F238E27FC236}">
                <a16:creationId xmlns:a16="http://schemas.microsoft.com/office/drawing/2014/main" id="{AD7DA3A0-5034-17F8-45B9-6E722492880D}"/>
              </a:ext>
            </a:extLst>
          </p:cNvPr>
          <p:cNvSpPr/>
          <p:nvPr/>
        </p:nvSpPr>
        <p:spPr>
          <a:xfrm>
            <a:off x="5585498" y="1338926"/>
            <a:ext cx="715641"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ACEAAC4B-3F46-6170-63B8-A18F6BAC89EC}"/>
              </a:ext>
            </a:extLst>
          </p:cNvPr>
          <p:cNvSpPr txBox="1"/>
          <p:nvPr/>
        </p:nvSpPr>
        <p:spPr>
          <a:xfrm>
            <a:off x="5578541" y="1250439"/>
            <a:ext cx="776503" cy="382092"/>
          </a:xfrm>
          <a:prstGeom prst="rect">
            <a:avLst/>
          </a:prstGeom>
          <a:noFill/>
        </p:spPr>
        <p:txBody>
          <a:bodyPr wrap="square">
            <a:spAutoFit/>
          </a:bodyPr>
          <a:lstStyle/>
          <a:p>
            <a:pPr algn="ctr">
              <a:lnSpc>
                <a:spcPct val="150000"/>
              </a:lnSpc>
            </a:pPr>
            <a:r>
              <a:rPr lang="en-US" sz="1400" b="1" dirty="0"/>
              <a:t>Step 1</a:t>
            </a:r>
          </a:p>
        </p:txBody>
      </p:sp>
      <p:sp>
        <p:nvSpPr>
          <p:cNvPr id="19" name="Rectangle 18">
            <a:extLst>
              <a:ext uri="{FF2B5EF4-FFF2-40B4-BE49-F238E27FC236}">
                <a16:creationId xmlns:a16="http://schemas.microsoft.com/office/drawing/2014/main" id="{33FD3DA0-C57D-1131-7BC2-1E3384624A76}"/>
              </a:ext>
            </a:extLst>
          </p:cNvPr>
          <p:cNvSpPr/>
          <p:nvPr/>
        </p:nvSpPr>
        <p:spPr>
          <a:xfrm>
            <a:off x="1798550" y="4885064"/>
            <a:ext cx="974900"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F96E4665-6E0A-F7C5-0FB6-95F6019E904E}"/>
              </a:ext>
            </a:extLst>
          </p:cNvPr>
          <p:cNvSpPr txBox="1"/>
          <p:nvPr/>
        </p:nvSpPr>
        <p:spPr>
          <a:xfrm>
            <a:off x="1829786" y="4788238"/>
            <a:ext cx="974901" cy="382092"/>
          </a:xfrm>
          <a:prstGeom prst="rect">
            <a:avLst/>
          </a:prstGeom>
          <a:noFill/>
        </p:spPr>
        <p:txBody>
          <a:bodyPr wrap="square">
            <a:spAutoFit/>
          </a:bodyPr>
          <a:lstStyle/>
          <a:p>
            <a:pPr algn="ctr">
              <a:lnSpc>
                <a:spcPct val="150000"/>
              </a:lnSpc>
            </a:pPr>
            <a:r>
              <a:rPr lang="en-US" sz="1400" b="1" dirty="0"/>
              <a:t>Steps 2 - 6</a:t>
            </a:r>
          </a:p>
        </p:txBody>
      </p:sp>
      <p:sp>
        <p:nvSpPr>
          <p:cNvPr id="21" name="Rectangle 20">
            <a:extLst>
              <a:ext uri="{FF2B5EF4-FFF2-40B4-BE49-F238E27FC236}">
                <a16:creationId xmlns:a16="http://schemas.microsoft.com/office/drawing/2014/main" id="{5F66EA51-8CC6-1AE7-A10A-928279A80EF9}"/>
              </a:ext>
            </a:extLst>
          </p:cNvPr>
          <p:cNvSpPr/>
          <p:nvPr/>
        </p:nvSpPr>
        <p:spPr>
          <a:xfrm>
            <a:off x="4705812" y="4456318"/>
            <a:ext cx="754697" cy="26987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B08050AD-D70E-B714-9754-2B44BAE5AD50}"/>
              </a:ext>
            </a:extLst>
          </p:cNvPr>
          <p:cNvSpPr txBox="1"/>
          <p:nvPr/>
        </p:nvSpPr>
        <p:spPr>
          <a:xfrm>
            <a:off x="4730960" y="4359236"/>
            <a:ext cx="776503" cy="382092"/>
          </a:xfrm>
          <a:prstGeom prst="rect">
            <a:avLst/>
          </a:prstGeom>
          <a:noFill/>
        </p:spPr>
        <p:txBody>
          <a:bodyPr wrap="square">
            <a:spAutoFit/>
          </a:bodyPr>
          <a:lstStyle/>
          <a:p>
            <a:pPr algn="ctr">
              <a:lnSpc>
                <a:spcPct val="150000"/>
              </a:lnSpc>
            </a:pPr>
            <a:r>
              <a:rPr lang="en-US" sz="1400" b="1" dirty="0"/>
              <a:t>Step 7</a:t>
            </a:r>
          </a:p>
        </p:txBody>
      </p:sp>
      <p:cxnSp>
        <p:nvCxnSpPr>
          <p:cNvPr id="24" name="Straight Arrow Connector 23">
            <a:extLst>
              <a:ext uri="{FF2B5EF4-FFF2-40B4-BE49-F238E27FC236}">
                <a16:creationId xmlns:a16="http://schemas.microsoft.com/office/drawing/2014/main" id="{5EA4FB10-2A0B-37D0-2082-91F822434504}"/>
              </a:ext>
            </a:extLst>
          </p:cNvPr>
          <p:cNvCxnSpPr>
            <a:cxnSpLocks/>
          </p:cNvCxnSpPr>
          <p:nvPr/>
        </p:nvCxnSpPr>
        <p:spPr>
          <a:xfrm flipH="1">
            <a:off x="4659884" y="1473865"/>
            <a:ext cx="91865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6B3EDA18-7B3A-77D0-0840-4E86AFC68D36}"/>
              </a:ext>
            </a:extLst>
          </p:cNvPr>
          <p:cNvCxnSpPr>
            <a:cxnSpLocks/>
          </p:cNvCxnSpPr>
          <p:nvPr/>
        </p:nvCxnSpPr>
        <p:spPr>
          <a:xfrm flipV="1">
            <a:off x="2286000" y="4503639"/>
            <a:ext cx="0" cy="35523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104E4345-E0F8-039C-2AE9-7C77B4DE9DF7}"/>
              </a:ext>
            </a:extLst>
          </p:cNvPr>
          <p:cNvCxnSpPr>
            <a:cxnSpLocks/>
          </p:cNvCxnSpPr>
          <p:nvPr/>
        </p:nvCxnSpPr>
        <p:spPr>
          <a:xfrm>
            <a:off x="5083160" y="4733382"/>
            <a:ext cx="0" cy="5414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2EBB83DE-A353-5C70-5D9E-CBAE9B3A9F66}"/>
              </a:ext>
            </a:extLst>
          </p:cNvPr>
          <p:cNvCxnSpPr>
            <a:cxnSpLocks/>
            <a:stCxn id="21" idx="0"/>
          </p:cNvCxnSpPr>
          <p:nvPr/>
        </p:nvCxnSpPr>
        <p:spPr>
          <a:xfrm flipV="1">
            <a:off x="5083161" y="3079630"/>
            <a:ext cx="567141" cy="13766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8" name="Picture 7">
            <a:extLst>
              <a:ext uri="{FF2B5EF4-FFF2-40B4-BE49-F238E27FC236}">
                <a16:creationId xmlns:a16="http://schemas.microsoft.com/office/drawing/2014/main" id="{CA7A4509-0E9A-0B16-D747-645D604BED20}"/>
              </a:ext>
            </a:extLst>
          </p:cNvPr>
          <p:cNvPicPr>
            <a:picLocks noChangeAspect="1"/>
          </p:cNvPicPr>
          <p:nvPr/>
        </p:nvPicPr>
        <p:blipFill>
          <a:blip r:embed="rId3"/>
          <a:stretch>
            <a:fillRect/>
          </a:stretch>
        </p:blipFill>
        <p:spPr>
          <a:xfrm>
            <a:off x="298758" y="1152713"/>
            <a:ext cx="4164264" cy="666282"/>
          </a:xfrm>
          <a:prstGeom prst="rect">
            <a:avLst/>
          </a:prstGeom>
          <a:ln w="88900" cap="sq" cmpd="thickThin">
            <a:solidFill>
              <a:srgbClr val="000000"/>
            </a:solidFill>
            <a:prstDash val="solid"/>
            <a:miter lim="800000"/>
          </a:ln>
          <a:effectLst>
            <a:innerShdw blurRad="76200">
              <a:srgbClr val="000000"/>
            </a:innerShdw>
          </a:effectLst>
        </p:spPr>
      </p:pic>
      <p:pic>
        <p:nvPicPr>
          <p:cNvPr id="12" name="Picture 11">
            <a:extLst>
              <a:ext uri="{FF2B5EF4-FFF2-40B4-BE49-F238E27FC236}">
                <a16:creationId xmlns:a16="http://schemas.microsoft.com/office/drawing/2014/main" id="{7113221D-CD5D-EC3F-CEF2-1578001E2FB9}"/>
              </a:ext>
            </a:extLst>
          </p:cNvPr>
          <p:cNvPicPr>
            <a:picLocks noChangeAspect="1"/>
          </p:cNvPicPr>
          <p:nvPr/>
        </p:nvPicPr>
        <p:blipFill>
          <a:blip r:embed="rId4"/>
          <a:stretch>
            <a:fillRect/>
          </a:stretch>
        </p:blipFill>
        <p:spPr>
          <a:xfrm>
            <a:off x="298759" y="2157414"/>
            <a:ext cx="4204316" cy="2225814"/>
          </a:xfrm>
          <a:prstGeom prst="rect">
            <a:avLst/>
          </a:prstGeom>
          <a:ln w="88900" cap="sq" cmpd="thickThin">
            <a:solidFill>
              <a:srgbClr val="000000"/>
            </a:solidFill>
            <a:prstDash val="solid"/>
            <a:miter lim="800000"/>
          </a:ln>
          <a:effectLst>
            <a:innerShdw blurRad="76200">
              <a:srgbClr val="000000"/>
            </a:innerShdw>
          </a:effectLst>
        </p:spPr>
      </p:pic>
      <p:pic>
        <p:nvPicPr>
          <p:cNvPr id="26" name="Picture 25">
            <a:extLst>
              <a:ext uri="{FF2B5EF4-FFF2-40B4-BE49-F238E27FC236}">
                <a16:creationId xmlns:a16="http://schemas.microsoft.com/office/drawing/2014/main" id="{D4F637A3-15AD-1CD3-E355-05E170510C83}"/>
              </a:ext>
            </a:extLst>
          </p:cNvPr>
          <p:cNvPicPr>
            <a:picLocks noChangeAspect="1"/>
          </p:cNvPicPr>
          <p:nvPr/>
        </p:nvPicPr>
        <p:blipFill>
          <a:blip r:embed="rId5"/>
          <a:stretch>
            <a:fillRect/>
          </a:stretch>
        </p:blipFill>
        <p:spPr>
          <a:xfrm>
            <a:off x="5776964" y="1874694"/>
            <a:ext cx="3064335" cy="2771421"/>
          </a:xfrm>
          <a:prstGeom prst="rect">
            <a:avLst/>
          </a:prstGeom>
          <a:ln w="88900" cap="sq" cmpd="thickThin">
            <a:solidFill>
              <a:srgbClr val="000000"/>
            </a:solidFill>
            <a:prstDash val="solid"/>
            <a:miter lim="800000"/>
          </a:ln>
          <a:effectLst>
            <a:innerShdw blurRad="76200">
              <a:srgbClr val="000000"/>
            </a:innerShdw>
          </a:effectLst>
        </p:spPr>
      </p:pic>
      <p:pic>
        <p:nvPicPr>
          <p:cNvPr id="29" name="Picture 28">
            <a:extLst>
              <a:ext uri="{FF2B5EF4-FFF2-40B4-BE49-F238E27FC236}">
                <a16:creationId xmlns:a16="http://schemas.microsoft.com/office/drawing/2014/main" id="{0CFDDCED-551C-0262-FD15-DD95E831A9A0}"/>
              </a:ext>
            </a:extLst>
          </p:cNvPr>
          <p:cNvPicPr>
            <a:picLocks noChangeAspect="1"/>
          </p:cNvPicPr>
          <p:nvPr/>
        </p:nvPicPr>
        <p:blipFill>
          <a:blip r:embed="rId6"/>
          <a:stretch>
            <a:fillRect/>
          </a:stretch>
        </p:blipFill>
        <p:spPr>
          <a:xfrm>
            <a:off x="298758" y="5398897"/>
            <a:ext cx="8542541" cy="693206"/>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3468805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88022-2A62-15AE-FB45-FFA971024372}"/>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8AB31015-4AD1-F04E-203B-516B9954B811}"/>
              </a:ext>
            </a:extLst>
          </p:cNvPr>
          <p:cNvSpPr/>
          <p:nvPr/>
        </p:nvSpPr>
        <p:spPr>
          <a:xfrm>
            <a:off x="7928817" y="3768938"/>
            <a:ext cx="715641" cy="548396"/>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A7C91DC0-3924-D528-FB89-D88F25D2725F}"/>
              </a:ext>
            </a:extLst>
          </p:cNvPr>
          <p:cNvSpPr/>
          <p:nvPr/>
        </p:nvSpPr>
        <p:spPr>
          <a:xfrm>
            <a:off x="99925" y="825317"/>
            <a:ext cx="8940205" cy="5454713"/>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20000"/>
                  <a:lumOff val="80000"/>
                </a:schemeClr>
              </a:solidFill>
            </a:endParaRPr>
          </a:p>
        </p:txBody>
      </p:sp>
      <p:sp>
        <p:nvSpPr>
          <p:cNvPr id="3" name="Date Placeholder 2">
            <a:extLst>
              <a:ext uri="{FF2B5EF4-FFF2-40B4-BE49-F238E27FC236}">
                <a16:creationId xmlns:a16="http://schemas.microsoft.com/office/drawing/2014/main" id="{DD85D8FE-42B6-6676-2521-BF472068F654}"/>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4" name="Rectangle 3">
            <a:extLst>
              <a:ext uri="{FF2B5EF4-FFF2-40B4-BE49-F238E27FC236}">
                <a16:creationId xmlns:a16="http://schemas.microsoft.com/office/drawing/2014/main" id="{B2542245-8924-E7B9-B29B-6FBA9BFAD372}"/>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6EDE9270-917A-B81A-66B2-27CF001EF339}"/>
              </a:ext>
            </a:extLst>
          </p:cNvPr>
          <p:cNvPicPr>
            <a:picLocks noChangeAspect="1"/>
          </p:cNvPicPr>
          <p:nvPr/>
        </p:nvPicPr>
        <p:blipFill>
          <a:blip r:embed="rId2"/>
          <a:srcRect t="1" r="12388" b="-6195"/>
          <a:stretch/>
        </p:blipFill>
        <p:spPr>
          <a:xfrm>
            <a:off x="7292898" y="6580867"/>
            <a:ext cx="1518807" cy="277133"/>
          </a:xfrm>
          <a:prstGeom prst="rect">
            <a:avLst/>
          </a:prstGeom>
        </p:spPr>
      </p:pic>
      <p:sp>
        <p:nvSpPr>
          <p:cNvPr id="6" name="Rectangle 5">
            <a:extLst>
              <a:ext uri="{FF2B5EF4-FFF2-40B4-BE49-F238E27FC236}">
                <a16:creationId xmlns:a16="http://schemas.microsoft.com/office/drawing/2014/main" id="{0F281E67-6C9C-6A5B-FC3A-47590FABF8C2}"/>
              </a:ext>
            </a:extLst>
          </p:cNvPr>
          <p:cNvSpPr/>
          <p:nvPr/>
        </p:nvSpPr>
        <p:spPr>
          <a:xfrm>
            <a:off x="2380890" y="183632"/>
            <a:ext cx="4382219" cy="560717"/>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C4E7A75D-418F-8C14-F24C-E085DD2E14A1}"/>
              </a:ext>
            </a:extLst>
          </p:cNvPr>
          <p:cNvSpPr txBox="1"/>
          <p:nvPr/>
        </p:nvSpPr>
        <p:spPr>
          <a:xfrm>
            <a:off x="2449901" y="112142"/>
            <a:ext cx="4313208" cy="589072"/>
          </a:xfrm>
          <a:prstGeom prst="rect">
            <a:avLst/>
          </a:prstGeom>
          <a:noFill/>
        </p:spPr>
        <p:txBody>
          <a:bodyPr wrap="square">
            <a:spAutoFit/>
          </a:bodyPr>
          <a:lstStyle/>
          <a:p>
            <a:pPr algn="ctr">
              <a:lnSpc>
                <a:spcPct val="150000"/>
              </a:lnSpc>
            </a:pPr>
            <a:r>
              <a:rPr lang="en-US" sz="2400" b="1" dirty="0"/>
              <a:t>Complex Solution Example </a:t>
            </a:r>
          </a:p>
        </p:txBody>
      </p:sp>
      <p:sp>
        <p:nvSpPr>
          <p:cNvPr id="19" name="Rectangle 18">
            <a:extLst>
              <a:ext uri="{FF2B5EF4-FFF2-40B4-BE49-F238E27FC236}">
                <a16:creationId xmlns:a16="http://schemas.microsoft.com/office/drawing/2014/main" id="{B167D0F0-5845-D5BA-68B2-95498142F04E}"/>
              </a:ext>
            </a:extLst>
          </p:cNvPr>
          <p:cNvSpPr/>
          <p:nvPr/>
        </p:nvSpPr>
        <p:spPr>
          <a:xfrm>
            <a:off x="229754" y="975176"/>
            <a:ext cx="8684494" cy="1028423"/>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706C7CE9-6ED7-AE49-DF06-1D1C5CFFBD7B}"/>
              </a:ext>
            </a:extLst>
          </p:cNvPr>
          <p:cNvSpPr txBox="1"/>
          <p:nvPr/>
        </p:nvSpPr>
        <p:spPr>
          <a:xfrm>
            <a:off x="298762" y="918752"/>
            <a:ext cx="8615485" cy="1028423"/>
          </a:xfrm>
          <a:prstGeom prst="rect">
            <a:avLst/>
          </a:prstGeom>
          <a:noFill/>
        </p:spPr>
        <p:txBody>
          <a:bodyPr wrap="square">
            <a:spAutoFit/>
          </a:bodyPr>
          <a:lstStyle/>
          <a:p>
            <a:pPr algn="ctr">
              <a:lnSpc>
                <a:spcPct val="150000"/>
              </a:lnSpc>
            </a:pPr>
            <a:r>
              <a:rPr lang="en-US" sz="1400" dirty="0"/>
              <a:t>The main objective of this Gen-Ai process is to generate data/reports that may be challenging for the BI team to produce directly. For instance, our system effectively calculates performance for specific segments, such as vintages with 3PD30 rates are within a particular range ( 7% and 9% ).</a:t>
            </a:r>
            <a:endParaRPr lang="en-US" sz="1400" b="1" dirty="0"/>
          </a:p>
        </p:txBody>
      </p:sp>
      <p:cxnSp>
        <p:nvCxnSpPr>
          <p:cNvPr id="30" name="Straight Arrow Connector 29">
            <a:extLst>
              <a:ext uri="{FF2B5EF4-FFF2-40B4-BE49-F238E27FC236}">
                <a16:creationId xmlns:a16="http://schemas.microsoft.com/office/drawing/2014/main" id="{0C551C6D-3771-B0FC-9F46-5EF6DB384DDB}"/>
              </a:ext>
            </a:extLst>
          </p:cNvPr>
          <p:cNvCxnSpPr>
            <a:cxnSpLocks/>
          </p:cNvCxnSpPr>
          <p:nvPr/>
        </p:nvCxnSpPr>
        <p:spPr>
          <a:xfrm>
            <a:off x="5083160" y="4733382"/>
            <a:ext cx="0" cy="5414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86DE201C-E18E-6B13-C37E-411AAA058FEA}"/>
              </a:ext>
            </a:extLst>
          </p:cNvPr>
          <p:cNvPicPr>
            <a:picLocks noChangeAspect="1"/>
          </p:cNvPicPr>
          <p:nvPr/>
        </p:nvPicPr>
        <p:blipFill>
          <a:blip r:embed="rId3"/>
          <a:stretch>
            <a:fillRect/>
          </a:stretch>
        </p:blipFill>
        <p:spPr>
          <a:xfrm>
            <a:off x="298762" y="2469307"/>
            <a:ext cx="7138609" cy="73029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5CA9D934-71D8-2774-5FDE-790D25C73331}"/>
              </a:ext>
            </a:extLst>
          </p:cNvPr>
          <p:cNvPicPr>
            <a:picLocks noChangeAspect="1"/>
          </p:cNvPicPr>
          <p:nvPr/>
        </p:nvPicPr>
        <p:blipFill>
          <a:blip r:embed="rId4"/>
          <a:stretch>
            <a:fillRect/>
          </a:stretch>
        </p:blipFill>
        <p:spPr>
          <a:xfrm>
            <a:off x="298762" y="3681533"/>
            <a:ext cx="5958395" cy="24403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3" name="TextBox 12">
            <a:extLst>
              <a:ext uri="{FF2B5EF4-FFF2-40B4-BE49-F238E27FC236}">
                <a16:creationId xmlns:a16="http://schemas.microsoft.com/office/drawing/2014/main" id="{1E20A83C-A179-1833-A852-522A9F97BFDD}"/>
              </a:ext>
            </a:extLst>
          </p:cNvPr>
          <p:cNvSpPr txBox="1"/>
          <p:nvPr/>
        </p:nvSpPr>
        <p:spPr>
          <a:xfrm>
            <a:off x="7750531" y="2506793"/>
            <a:ext cx="715641" cy="705258"/>
          </a:xfrm>
          <a:prstGeom prst="rect">
            <a:avLst/>
          </a:prstGeom>
          <a:noFill/>
        </p:spPr>
        <p:txBody>
          <a:bodyPr wrap="square">
            <a:spAutoFit/>
          </a:bodyPr>
          <a:lstStyle/>
          <a:p>
            <a:pPr algn="ctr">
              <a:lnSpc>
                <a:spcPct val="150000"/>
              </a:lnSpc>
            </a:pPr>
            <a:r>
              <a:rPr lang="en-US" sz="1400" b="1" dirty="0"/>
              <a:t>User Query</a:t>
            </a:r>
          </a:p>
        </p:txBody>
      </p:sp>
      <p:cxnSp>
        <p:nvCxnSpPr>
          <p:cNvPr id="14" name="Straight Arrow Connector 13">
            <a:extLst>
              <a:ext uri="{FF2B5EF4-FFF2-40B4-BE49-F238E27FC236}">
                <a16:creationId xmlns:a16="http://schemas.microsoft.com/office/drawing/2014/main" id="{40FCC74E-59E5-4DD8-2536-1932C63DDFD1}"/>
              </a:ext>
            </a:extLst>
          </p:cNvPr>
          <p:cNvCxnSpPr>
            <a:cxnSpLocks/>
          </p:cNvCxnSpPr>
          <p:nvPr/>
        </p:nvCxnSpPr>
        <p:spPr>
          <a:xfrm flipH="1">
            <a:off x="7592972" y="3193674"/>
            <a:ext cx="91865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F593CA0C-1D93-35C0-AFE4-322EA386DB21}"/>
              </a:ext>
            </a:extLst>
          </p:cNvPr>
          <p:cNvSpPr txBox="1"/>
          <p:nvPr/>
        </p:nvSpPr>
        <p:spPr>
          <a:xfrm>
            <a:off x="6557323" y="4201138"/>
            <a:ext cx="1908849" cy="705258"/>
          </a:xfrm>
          <a:prstGeom prst="rect">
            <a:avLst/>
          </a:prstGeom>
          <a:noFill/>
        </p:spPr>
        <p:txBody>
          <a:bodyPr wrap="square">
            <a:spAutoFit/>
          </a:bodyPr>
          <a:lstStyle/>
          <a:p>
            <a:pPr algn="ctr">
              <a:lnSpc>
                <a:spcPct val="150000"/>
              </a:lnSpc>
            </a:pPr>
            <a:r>
              <a:rPr lang="en-US" sz="1400" b="1" dirty="0"/>
              <a:t>Correct Query Generated by System</a:t>
            </a:r>
          </a:p>
        </p:txBody>
      </p:sp>
      <p:cxnSp>
        <p:nvCxnSpPr>
          <p:cNvPr id="25" name="Straight Arrow Connector 24">
            <a:extLst>
              <a:ext uri="{FF2B5EF4-FFF2-40B4-BE49-F238E27FC236}">
                <a16:creationId xmlns:a16="http://schemas.microsoft.com/office/drawing/2014/main" id="{6E5D003C-35D2-86CE-B564-82FEA413CE98}"/>
              </a:ext>
            </a:extLst>
          </p:cNvPr>
          <p:cNvCxnSpPr>
            <a:cxnSpLocks/>
          </p:cNvCxnSpPr>
          <p:nvPr/>
        </p:nvCxnSpPr>
        <p:spPr>
          <a:xfrm flipH="1">
            <a:off x="6347637" y="4953383"/>
            <a:ext cx="164861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89253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3383F-0868-8046-5736-7A57B342C08D}"/>
            </a:ext>
          </a:extLst>
        </p:cNvPr>
        <p:cNvGrpSpPr/>
        <p:nvPr/>
      </p:nvGrpSpPr>
      <p:grpSpPr>
        <a:xfrm>
          <a:off x="0" y="0"/>
          <a:ext cx="0" cy="0"/>
          <a:chOff x="0" y="0"/>
          <a:chExt cx="0" cy="0"/>
        </a:xfrm>
      </p:grpSpPr>
      <p:sp>
        <p:nvSpPr>
          <p:cNvPr id="2" name="Date Placeholder 2">
            <a:extLst>
              <a:ext uri="{FF2B5EF4-FFF2-40B4-BE49-F238E27FC236}">
                <a16:creationId xmlns:a16="http://schemas.microsoft.com/office/drawing/2014/main" id="{4D50497C-E02C-8318-6267-A9C904E54A39}"/>
              </a:ext>
            </a:extLst>
          </p:cNvPr>
          <p:cNvSpPr txBox="1">
            <a:spLocks/>
          </p:cNvSpPr>
          <p:nvPr/>
        </p:nvSpPr>
        <p:spPr>
          <a:xfrm>
            <a:off x="117531" y="6645670"/>
            <a:ext cx="1518807" cy="138499"/>
          </a:xfrm>
          <a:prstGeom prst="rect">
            <a:avLst/>
          </a:prstGeom>
        </p:spPr>
        <p:txBody>
          <a:bodyPr wrap="square" lIns="0" tIns="0" rIns="0" bIns="0" anchor="ctr" anchorCtr="0">
            <a:spAutoFit/>
          </a:bodyPr>
          <a:ls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a:lstStyle>
          <a:p>
            <a:pPr defTabSz="609570"/>
            <a:r>
              <a:rPr lang="en-US" sz="900" dirty="0">
                <a:solidFill>
                  <a:srgbClr val="FFFFFF"/>
                </a:solidFill>
                <a:latin typeface="Calibri"/>
              </a:rPr>
              <a:t>Data as of 30/12/2024</a:t>
            </a:r>
          </a:p>
        </p:txBody>
      </p:sp>
      <p:sp>
        <p:nvSpPr>
          <p:cNvPr id="17" name="Rectangle 16">
            <a:extLst>
              <a:ext uri="{FF2B5EF4-FFF2-40B4-BE49-F238E27FC236}">
                <a16:creationId xmlns:a16="http://schemas.microsoft.com/office/drawing/2014/main" id="{FBF7333C-2D36-2879-D4E4-383CDD040829}"/>
              </a:ext>
            </a:extLst>
          </p:cNvPr>
          <p:cNvSpPr/>
          <p:nvPr/>
        </p:nvSpPr>
        <p:spPr>
          <a:xfrm>
            <a:off x="0" y="6564702"/>
            <a:ext cx="9144000" cy="2932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5C9D2E6B-A2F7-7253-0F50-5B977D32FEF2}"/>
              </a:ext>
            </a:extLst>
          </p:cNvPr>
          <p:cNvPicPr>
            <a:picLocks noChangeAspect="1"/>
          </p:cNvPicPr>
          <p:nvPr/>
        </p:nvPicPr>
        <p:blipFill>
          <a:blip r:embed="rId2"/>
          <a:srcRect t="1" r="12388" b="-6195"/>
          <a:stretch/>
        </p:blipFill>
        <p:spPr>
          <a:xfrm>
            <a:off x="7292898" y="6580867"/>
            <a:ext cx="1518807" cy="277133"/>
          </a:xfrm>
          <a:prstGeom prst="rect">
            <a:avLst/>
          </a:prstGeom>
        </p:spPr>
      </p:pic>
      <p:sp>
        <p:nvSpPr>
          <p:cNvPr id="27" name="TextBox 26">
            <a:extLst>
              <a:ext uri="{FF2B5EF4-FFF2-40B4-BE49-F238E27FC236}">
                <a16:creationId xmlns:a16="http://schemas.microsoft.com/office/drawing/2014/main" id="{F9EACE9F-86A4-2EDE-C7FA-337E7BC44534}"/>
              </a:ext>
            </a:extLst>
          </p:cNvPr>
          <p:cNvSpPr txBox="1"/>
          <p:nvPr/>
        </p:nvSpPr>
        <p:spPr>
          <a:xfrm>
            <a:off x="782322" y="215660"/>
            <a:ext cx="2656935" cy="448573"/>
          </a:xfrm>
          <a:prstGeom prst="rect">
            <a:avLst/>
          </a:prstGeom>
          <a:noFill/>
        </p:spPr>
        <p:txBody>
          <a:bodyPr wrap="none" lIns="0" tIns="0" rIns="0" bIns="0" rtlCol="0">
            <a:noAutofit/>
          </a:bodyPr>
          <a:lstStyle/>
          <a:p>
            <a:pPr algn="ctr">
              <a:lnSpc>
                <a:spcPct val="150000"/>
              </a:lnSpc>
            </a:pPr>
            <a:endParaRPr lang="en-US" sz="2400" b="1" dirty="0">
              <a:solidFill>
                <a:schemeClr val="bg1"/>
              </a:solidFill>
            </a:endParaRPr>
          </a:p>
        </p:txBody>
      </p:sp>
      <p:sp>
        <p:nvSpPr>
          <p:cNvPr id="28" name="Rectangle 27">
            <a:extLst>
              <a:ext uri="{FF2B5EF4-FFF2-40B4-BE49-F238E27FC236}">
                <a16:creationId xmlns:a16="http://schemas.microsoft.com/office/drawing/2014/main" id="{84BBDA04-BE0B-E78C-ED70-BE44D08F4979}"/>
              </a:ext>
            </a:extLst>
          </p:cNvPr>
          <p:cNvSpPr/>
          <p:nvPr/>
        </p:nvSpPr>
        <p:spPr>
          <a:xfrm>
            <a:off x="2380890" y="215660"/>
            <a:ext cx="4382219"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74FA8DA7-61A8-870D-9A7A-987537C513C7}"/>
              </a:ext>
            </a:extLst>
          </p:cNvPr>
          <p:cNvSpPr txBox="1"/>
          <p:nvPr/>
        </p:nvSpPr>
        <p:spPr>
          <a:xfrm>
            <a:off x="2449901" y="144170"/>
            <a:ext cx="4313208" cy="589072"/>
          </a:xfrm>
          <a:prstGeom prst="rect">
            <a:avLst/>
          </a:prstGeom>
          <a:noFill/>
        </p:spPr>
        <p:txBody>
          <a:bodyPr wrap="square">
            <a:spAutoFit/>
          </a:bodyPr>
          <a:lstStyle/>
          <a:p>
            <a:pPr algn="ctr">
              <a:lnSpc>
                <a:spcPct val="150000"/>
              </a:lnSpc>
            </a:pPr>
            <a:r>
              <a:rPr lang="en-US" sz="2400" b="1" dirty="0">
                <a:solidFill>
                  <a:schemeClr val="bg1"/>
                </a:solidFill>
              </a:rPr>
              <a:t>Impact on Business</a:t>
            </a:r>
          </a:p>
        </p:txBody>
      </p:sp>
      <p:sp>
        <p:nvSpPr>
          <p:cNvPr id="31" name="Rectangle 30">
            <a:extLst>
              <a:ext uri="{FF2B5EF4-FFF2-40B4-BE49-F238E27FC236}">
                <a16:creationId xmlns:a16="http://schemas.microsoft.com/office/drawing/2014/main" id="{135F3D3A-37E1-C160-272F-0D76B62EC054}"/>
              </a:ext>
            </a:extLst>
          </p:cNvPr>
          <p:cNvSpPr/>
          <p:nvPr/>
        </p:nvSpPr>
        <p:spPr>
          <a:xfrm>
            <a:off x="402565" y="899400"/>
            <a:ext cx="8409140" cy="16195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32" name="TextBox 31">
            <a:extLst>
              <a:ext uri="{FF2B5EF4-FFF2-40B4-BE49-F238E27FC236}">
                <a16:creationId xmlns:a16="http://schemas.microsoft.com/office/drawing/2014/main" id="{7068F7A4-1F14-9F53-6C01-02F1435CF0AC}"/>
              </a:ext>
            </a:extLst>
          </p:cNvPr>
          <p:cNvSpPr txBox="1"/>
          <p:nvPr/>
        </p:nvSpPr>
        <p:spPr>
          <a:xfrm>
            <a:off x="521267" y="1078317"/>
            <a:ext cx="8135969" cy="1169551"/>
          </a:xfrm>
          <a:prstGeom prst="rect">
            <a:avLst/>
          </a:prstGeom>
          <a:noFill/>
        </p:spPr>
        <p:txBody>
          <a:bodyPr wrap="square">
            <a:spAutoFit/>
          </a:bodyPr>
          <a:lstStyle/>
          <a:p>
            <a:pPr>
              <a:buFont typeface="+mj-lt"/>
              <a:buAutoNum type="arabicPeriod"/>
            </a:pPr>
            <a:r>
              <a:rPr lang="en-US" sz="1400" b="1" dirty="0"/>
              <a:t>Faster Analysis:</a:t>
            </a:r>
            <a:r>
              <a:rPr lang="en-US" sz="1400" dirty="0"/>
              <a:t> This tool enables rapid generation of requested analyses, saving time and effort compared to traditional methods.</a:t>
            </a:r>
          </a:p>
          <a:p>
            <a:pPr>
              <a:buFont typeface="+mj-lt"/>
              <a:buAutoNum type="arabicPeriod"/>
            </a:pPr>
            <a:r>
              <a:rPr lang="en-US" sz="1400" b="1" dirty="0"/>
              <a:t>Ease of Use:</a:t>
            </a:r>
            <a:r>
              <a:rPr lang="en-US" sz="1400" dirty="0"/>
              <a:t> Users can perform complex data analyses without requiring advanced SQL knowledge.</a:t>
            </a:r>
          </a:p>
          <a:p>
            <a:pPr>
              <a:buFont typeface="+mj-lt"/>
              <a:buAutoNum type="arabicPeriod"/>
            </a:pPr>
            <a:r>
              <a:rPr lang="en-US" sz="1400" b="1" dirty="0"/>
              <a:t>Improved Decision-Making:</a:t>
            </a:r>
            <a:r>
              <a:rPr lang="en-US" sz="1400" dirty="0"/>
              <a:t> As many business decisions revolve around fundamental data analyses, this tool accelerates the process, enabling quicker and more informed decision-making.</a:t>
            </a:r>
          </a:p>
        </p:txBody>
      </p:sp>
      <p:sp>
        <p:nvSpPr>
          <p:cNvPr id="39" name="Rectangle 38">
            <a:extLst>
              <a:ext uri="{FF2B5EF4-FFF2-40B4-BE49-F238E27FC236}">
                <a16:creationId xmlns:a16="http://schemas.microsoft.com/office/drawing/2014/main" id="{42A50BFD-E5D7-C3C4-F9BB-5156D777A4EF}"/>
              </a:ext>
            </a:extLst>
          </p:cNvPr>
          <p:cNvSpPr/>
          <p:nvPr/>
        </p:nvSpPr>
        <p:spPr>
          <a:xfrm>
            <a:off x="1716659" y="2684016"/>
            <a:ext cx="5883214" cy="56071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28D30C22-8FFC-22C4-F2DA-36DF14EB2EAF}"/>
              </a:ext>
            </a:extLst>
          </p:cNvPr>
          <p:cNvSpPr txBox="1"/>
          <p:nvPr/>
        </p:nvSpPr>
        <p:spPr>
          <a:xfrm>
            <a:off x="1680362" y="2596551"/>
            <a:ext cx="5783276" cy="589072"/>
          </a:xfrm>
          <a:prstGeom prst="rect">
            <a:avLst/>
          </a:prstGeom>
          <a:noFill/>
        </p:spPr>
        <p:txBody>
          <a:bodyPr wrap="square">
            <a:spAutoFit/>
          </a:bodyPr>
          <a:lstStyle/>
          <a:p>
            <a:pPr algn="ctr">
              <a:lnSpc>
                <a:spcPct val="150000"/>
              </a:lnSpc>
            </a:pPr>
            <a:r>
              <a:rPr lang="en-US" sz="2400" b="1" dirty="0">
                <a:solidFill>
                  <a:schemeClr val="bg1"/>
                </a:solidFill>
              </a:rPr>
              <a:t>Feature Improvements and Challenges:</a:t>
            </a:r>
          </a:p>
        </p:txBody>
      </p:sp>
      <p:sp>
        <p:nvSpPr>
          <p:cNvPr id="41" name="Rectangle 40">
            <a:extLst>
              <a:ext uri="{FF2B5EF4-FFF2-40B4-BE49-F238E27FC236}">
                <a16:creationId xmlns:a16="http://schemas.microsoft.com/office/drawing/2014/main" id="{17625BA9-09BD-3510-5576-14FA87A88588}"/>
              </a:ext>
            </a:extLst>
          </p:cNvPr>
          <p:cNvSpPr/>
          <p:nvPr/>
        </p:nvSpPr>
        <p:spPr>
          <a:xfrm>
            <a:off x="402565" y="3405699"/>
            <a:ext cx="8409140" cy="299803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0E4B9787-3BEE-84A5-99D7-539D4FD09007}"/>
              </a:ext>
            </a:extLst>
          </p:cNvPr>
          <p:cNvSpPr txBox="1"/>
          <p:nvPr/>
        </p:nvSpPr>
        <p:spPr>
          <a:xfrm>
            <a:off x="521267" y="3616001"/>
            <a:ext cx="8170474" cy="2677656"/>
          </a:xfrm>
          <a:prstGeom prst="rect">
            <a:avLst/>
          </a:prstGeom>
          <a:noFill/>
        </p:spPr>
        <p:txBody>
          <a:bodyPr wrap="square">
            <a:spAutoFit/>
          </a:bodyPr>
          <a:lstStyle/>
          <a:p>
            <a:pPr>
              <a:buFont typeface="+mj-lt"/>
              <a:buAutoNum type="arabicPeriod"/>
            </a:pPr>
            <a:r>
              <a:rPr lang="en-US" sz="1400" b="1" dirty="0"/>
              <a:t> Handling Feedback for Complex analysis:</a:t>
            </a:r>
            <a:endParaRPr lang="en-US" sz="1400" dirty="0"/>
          </a:p>
          <a:p>
            <a:pPr marL="742950" lvl="1" indent="-285750">
              <a:buFont typeface="+mj-lt"/>
              <a:buAutoNum type="arabicPeriod"/>
            </a:pPr>
            <a:r>
              <a:rPr lang="en-US" sz="1400" dirty="0"/>
              <a:t>Enhance the architecture to manage more complex user inputs and assist with intricate analyses.</a:t>
            </a:r>
          </a:p>
          <a:p>
            <a:pPr marL="742950" lvl="1" indent="-285750">
              <a:buFont typeface="+mj-lt"/>
              <a:buAutoNum type="arabicPeriod"/>
            </a:pPr>
            <a:r>
              <a:rPr lang="en-US" sz="1400" dirty="0"/>
              <a:t>Build capabilities for multi-turn interactions to refine and adapt queries based on evolving feedback.</a:t>
            </a:r>
          </a:p>
          <a:p>
            <a:pPr>
              <a:buFont typeface="+mj-lt"/>
              <a:buAutoNum type="arabicPeriod"/>
            </a:pPr>
            <a:r>
              <a:rPr lang="en-US" sz="1400" b="1" dirty="0"/>
              <a:t> Agent-Based Assistance &amp; Fine-Tuning of LLM’s:</a:t>
            </a:r>
            <a:endParaRPr lang="en-US" sz="1400" dirty="0"/>
          </a:p>
          <a:p>
            <a:pPr marL="742950" lvl="1" indent="-285750">
              <a:buFont typeface="+mj-lt"/>
              <a:buAutoNum type="arabicPeriod"/>
            </a:pPr>
            <a:r>
              <a:rPr lang="en-US" sz="1400" dirty="0"/>
              <a:t>Experiment with advanced AI agents to mimic human-like performance.</a:t>
            </a:r>
          </a:p>
          <a:p>
            <a:pPr marL="742950" lvl="1" indent="-285750">
              <a:buFont typeface="+mj-lt"/>
              <a:buAutoNum type="arabicPeriod"/>
            </a:pPr>
            <a:r>
              <a:rPr lang="en-US" sz="1400" dirty="0"/>
              <a:t>Improve the accuracy of generated SQL queries w.r.t to our database ( With more fine tuning ).</a:t>
            </a:r>
          </a:p>
          <a:p>
            <a:pPr>
              <a:buFont typeface="+mj-lt"/>
              <a:buAutoNum type="arabicPeriod"/>
            </a:pPr>
            <a:r>
              <a:rPr lang="en-US" sz="1400" b="1" dirty="0"/>
              <a:t> Adoption of Open-Source Models:</a:t>
            </a:r>
            <a:endParaRPr lang="en-US" sz="1400" dirty="0"/>
          </a:p>
          <a:p>
            <a:pPr marL="742950" lvl="1" indent="-285750">
              <a:buFont typeface="+mj-lt"/>
              <a:buAutoNum type="arabicPeriod"/>
            </a:pPr>
            <a:r>
              <a:rPr lang="en-US" sz="1400" dirty="0"/>
              <a:t>Initially utilized a 3B parameter-based Llama 3.2 model due to space constraints, which provided reasonable performance.</a:t>
            </a:r>
          </a:p>
          <a:p>
            <a:pPr marL="742950" lvl="1" indent="-285750">
              <a:buFont typeface="+mj-lt"/>
              <a:buAutoNum type="arabicPeriod"/>
            </a:pPr>
            <a:r>
              <a:rPr lang="en-US" sz="1400" dirty="0"/>
              <a:t>Highlighted potential to achieve OpenAI-level performance with open-source models like Hugging Face or Llama, particularly when deployed on a 64 GB instance.</a:t>
            </a:r>
          </a:p>
          <a:p>
            <a:pPr marL="742950" lvl="1" indent="-285750">
              <a:buFont typeface="+mj-lt"/>
              <a:buAutoNum type="arabicPeriod"/>
            </a:pPr>
            <a:r>
              <a:rPr lang="en-US" sz="1400" dirty="0"/>
              <a:t>Opportunity to significantly reduce costs while maintaining or enhancing performance.</a:t>
            </a:r>
          </a:p>
        </p:txBody>
      </p:sp>
    </p:spTree>
    <p:extLst>
      <p:ext uri="{BB962C8B-B14F-4D97-AF65-F5344CB8AC3E}">
        <p14:creationId xmlns:p14="http://schemas.microsoft.com/office/powerpoint/2010/main" val="3036456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77">
      <a:dk1>
        <a:srgbClr val="080808"/>
      </a:dk1>
      <a:lt1>
        <a:sysClr val="window" lastClr="FFFFFF"/>
      </a:lt1>
      <a:dk2>
        <a:srgbClr val="3C3C3C"/>
      </a:dk2>
      <a:lt2>
        <a:srgbClr val="F8F8F8"/>
      </a:lt2>
      <a:accent1>
        <a:srgbClr val="418AB3"/>
      </a:accent1>
      <a:accent2>
        <a:srgbClr val="5AB3DB"/>
      </a:accent2>
      <a:accent3>
        <a:srgbClr val="428BB4"/>
      </a:accent3>
      <a:accent4>
        <a:srgbClr val="595959"/>
      </a:accent4>
      <a:accent5>
        <a:srgbClr val="254F67"/>
      </a:accent5>
      <a:accent6>
        <a:srgbClr val="999999"/>
      </a:accent6>
      <a:hlink>
        <a:srgbClr val="254F67"/>
      </a:hlink>
      <a:folHlink>
        <a:srgbClr val="999999"/>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lumMod val="25000"/>
              <a:lumOff val="75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TTT_Standard.pptx" id="{1637E913-F9B6-4625-AEBA-CF07AC883C1A}" vid="{ECB4936B-A0C0-4529-B8C6-E1F606F03BC2}"/>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177">
      <a:dk1>
        <a:srgbClr val="080808"/>
      </a:dk1>
      <a:lt1>
        <a:sysClr val="window" lastClr="FFFFFF"/>
      </a:lt1>
      <a:dk2>
        <a:srgbClr val="3C3C3C"/>
      </a:dk2>
      <a:lt2>
        <a:srgbClr val="F8F8F8"/>
      </a:lt2>
      <a:accent1>
        <a:srgbClr val="418AB3"/>
      </a:accent1>
      <a:accent2>
        <a:srgbClr val="5AB3DB"/>
      </a:accent2>
      <a:accent3>
        <a:srgbClr val="428BB4"/>
      </a:accent3>
      <a:accent4>
        <a:srgbClr val="595959"/>
      </a:accent4>
      <a:accent5>
        <a:srgbClr val="254F67"/>
      </a:accent5>
      <a:accent6>
        <a:srgbClr val="999999"/>
      </a:accent6>
      <a:hlink>
        <a:srgbClr val="254F67"/>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lumMod val="25000"/>
              <a:lumOff val="75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TTT_Standard.pptx" id="{1637E913-F9B6-4625-AEBA-CF07AC883C1A}" vid="{ECB4936B-A0C0-4529-B8C6-E1F606F03BC2}"/>
    </a:ext>
  </a:extLst>
</a:theme>
</file>

<file path=ppt/theme/theme4.xml><?xml version="1.0" encoding="utf-8"?>
<a:theme xmlns:a="http://schemas.openxmlformats.org/drawingml/2006/main" name="2_Office Theme">
  <a:themeElements>
    <a:clrScheme name="Custom 177">
      <a:dk1>
        <a:srgbClr val="080808"/>
      </a:dk1>
      <a:lt1>
        <a:sysClr val="window" lastClr="FFFFFF"/>
      </a:lt1>
      <a:dk2>
        <a:srgbClr val="3C3C3C"/>
      </a:dk2>
      <a:lt2>
        <a:srgbClr val="F8F8F8"/>
      </a:lt2>
      <a:accent1>
        <a:srgbClr val="418AB3"/>
      </a:accent1>
      <a:accent2>
        <a:srgbClr val="5AB3DB"/>
      </a:accent2>
      <a:accent3>
        <a:srgbClr val="428BB4"/>
      </a:accent3>
      <a:accent4>
        <a:srgbClr val="595959"/>
      </a:accent4>
      <a:accent5>
        <a:srgbClr val="254F67"/>
      </a:accent5>
      <a:accent6>
        <a:srgbClr val="999999"/>
      </a:accent6>
      <a:hlink>
        <a:srgbClr val="254F67"/>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lumMod val="25000"/>
              <a:lumOff val="75000"/>
            </a:schemeClr>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TTT_Standard.pptx" id="{1637E913-F9B6-4625-AEBA-CF07AC883C1A}" vid="{ECB4936B-A0C0-4529-B8C6-E1F606F03BC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950CE45B91F643B91666638271DE23" ma:contentTypeVersion="12" ma:contentTypeDescription="Create a new document." ma:contentTypeScope="" ma:versionID="c27635440e87e4f39935d2284f3a201d">
  <xsd:schema xmlns:xsd="http://www.w3.org/2001/XMLSchema" xmlns:xs="http://www.w3.org/2001/XMLSchema" xmlns:p="http://schemas.microsoft.com/office/2006/metadata/properties" xmlns:ns3="900eca07-71db-4e04-8684-64f4d4b4d7df" xmlns:ns4="39eacc69-4059-462a-a2e6-5d643a971c77" targetNamespace="http://schemas.microsoft.com/office/2006/metadata/properties" ma:root="true" ma:fieldsID="17b97c3012457e5347991fa362572de7" ns3:_="" ns4:_="">
    <xsd:import namespace="900eca07-71db-4e04-8684-64f4d4b4d7df"/>
    <xsd:import namespace="39eacc69-4059-462a-a2e6-5d643a971c7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0eca07-71db-4e04-8684-64f4d4b4d7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eacc69-4059-462a-a2e6-5d643a971c7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DD1ED7E-7AF1-445C-B0E1-2F28F11966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00eca07-71db-4e04-8684-64f4d4b4d7df"/>
    <ds:schemaRef ds:uri="39eacc69-4059-462a-a2e6-5d643a971c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AE85442-D7FC-460D-818E-5A9F3EF558FD}">
  <ds:schemaRefs>
    <ds:schemaRef ds:uri="http://schemas.microsoft.com/sharepoint/v3/contenttype/forms"/>
  </ds:schemaRefs>
</ds:datastoreItem>
</file>

<file path=customXml/itemProps3.xml><?xml version="1.0" encoding="utf-8"?>
<ds:datastoreItem xmlns:ds="http://schemas.openxmlformats.org/officeDocument/2006/customXml" ds:itemID="{FEF4B3E6-1ED7-47C7-AFA1-4DEF2B3AFEC7}">
  <ds:schemaRefs>
    <ds:schemaRef ds:uri="http://schemas.microsoft.com/office/2006/documentManagement/types"/>
    <ds:schemaRef ds:uri="http://purl.org/dc/dcmitype/"/>
    <ds:schemaRef ds:uri="http://schemas.openxmlformats.org/package/2006/metadata/core-properties"/>
    <ds:schemaRef ds:uri="http://schemas.microsoft.com/office/infopath/2007/PartnerControls"/>
    <ds:schemaRef ds:uri="http://www.w3.org/XML/1998/namespace"/>
    <ds:schemaRef ds:uri="39eacc69-4059-462a-a2e6-5d643a971c77"/>
    <ds:schemaRef ds:uri="http://purl.org/dc/terms/"/>
    <ds:schemaRef ds:uri="900eca07-71db-4e04-8684-64f4d4b4d7df"/>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86260</TotalTime>
  <Words>821</Words>
  <Application>Microsoft Office PowerPoint</Application>
  <PresentationFormat>On-screen Show (4:3)</PresentationFormat>
  <Paragraphs>70</Paragraphs>
  <Slides>11</Slides>
  <Notes>1</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Calibri Light</vt:lpstr>
      <vt:lpstr>Office Theme</vt:lpstr>
      <vt:lpstr>Custom Design</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lideGenius.com</dc:creator>
  <cp:lastModifiedBy>Abhishek Kumar Sharma</cp:lastModifiedBy>
  <cp:revision>4113</cp:revision>
  <cp:lastPrinted>2019-04-15T23:13:02Z</cp:lastPrinted>
  <dcterms:created xsi:type="dcterms:W3CDTF">2017-04-05T20:26:30Z</dcterms:created>
  <dcterms:modified xsi:type="dcterms:W3CDTF">2025-01-06T04:4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950CE45B91F643B91666638271DE23</vt:lpwstr>
  </property>
</Properties>
</file>